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7" r:id="rId5"/>
    <p:sldMasterId id="2147483690" r:id="rId6"/>
  </p:sldMasterIdLst>
  <p:notesMasterIdLst>
    <p:notesMasterId r:id="rId24"/>
  </p:notesMasterIdLst>
  <p:handoutMasterIdLst>
    <p:handoutMasterId r:id="rId25"/>
  </p:handoutMasterIdLst>
  <p:sldIdLst>
    <p:sldId id="256" r:id="rId7"/>
    <p:sldId id="260" r:id="rId8"/>
    <p:sldId id="261" r:id="rId9"/>
    <p:sldId id="264" r:id="rId10"/>
    <p:sldId id="271" r:id="rId11"/>
    <p:sldId id="272" r:id="rId12"/>
    <p:sldId id="273" r:id="rId13"/>
    <p:sldId id="274" r:id="rId14"/>
    <p:sldId id="278" r:id="rId15"/>
    <p:sldId id="275" r:id="rId16"/>
    <p:sldId id="276" r:id="rId17"/>
    <p:sldId id="279" r:id="rId18"/>
    <p:sldId id="277" r:id="rId19"/>
    <p:sldId id="287" r:id="rId20"/>
    <p:sldId id="280" r:id="rId21"/>
    <p:sldId id="286" r:id="rId22"/>
    <p:sldId id="285" r:id="rId23"/>
  </p:sldIdLst>
  <p:sldSz cx="9144000" cy="6858000" type="screen4x3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FF00"/>
    <a:srgbClr val="006600"/>
    <a:srgbClr val="009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Style moye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106" d="100"/>
          <a:sy n="106" d="100"/>
        </p:scale>
        <p:origin x="1158" y="14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>
      <p:cViewPr varScale="1">
        <p:scale>
          <a:sx n="89" d="100"/>
          <a:sy n="89" d="100"/>
        </p:scale>
        <p:origin x="-3126" y="-12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theme" Target="theme/theme1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C1139E0-3AD6-4AAE-A62E-DA6402F06BED}" type="doc">
      <dgm:prSet loTypeId="urn:microsoft.com/office/officeart/2005/8/layout/cycle1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FDB36C04-E136-409B-A79D-CB429449CF87}">
      <dgm:prSet phldrT="[Texte]"/>
      <dgm:spPr/>
      <dgm:t>
        <a:bodyPr/>
        <a:lstStyle/>
        <a:p>
          <a:r>
            <a:rPr lang="fr-FR" dirty="0" err="1" smtClean="0"/>
            <a:t>Pick</a:t>
          </a:r>
          <a:r>
            <a:rPr lang="fr-FR" dirty="0" smtClean="0"/>
            <a:t> a pair</a:t>
          </a:r>
          <a:endParaRPr lang="fr-FR" dirty="0"/>
        </a:p>
      </dgm:t>
    </dgm:pt>
    <dgm:pt modelId="{249FFD23-30A0-4D16-A3F9-0B4487901E9D}" type="parTrans" cxnId="{0D614C0F-11BD-4E27-A7AA-A0809E6B5D05}">
      <dgm:prSet/>
      <dgm:spPr/>
      <dgm:t>
        <a:bodyPr/>
        <a:lstStyle/>
        <a:p>
          <a:endParaRPr lang="fr-FR"/>
        </a:p>
      </dgm:t>
    </dgm:pt>
    <dgm:pt modelId="{EBCC0293-B66B-46C9-A4D9-0FC82225B373}" type="sibTrans" cxnId="{0D614C0F-11BD-4E27-A7AA-A0809E6B5D05}">
      <dgm:prSet/>
      <dgm:spPr/>
      <dgm:t>
        <a:bodyPr/>
        <a:lstStyle/>
        <a:p>
          <a:endParaRPr lang="fr-FR"/>
        </a:p>
      </dgm:t>
    </dgm:pt>
    <dgm:pt modelId="{5BF707BD-D4B2-4685-ACB2-45690321CE58}">
      <dgm:prSet phldrT="[Texte]"/>
      <dgm:spPr/>
      <dgm:t>
        <a:bodyPr/>
        <a:lstStyle/>
        <a:p>
          <a:r>
            <a:rPr lang="fr-FR" dirty="0" smtClean="0"/>
            <a:t>Code</a:t>
          </a:r>
          <a:endParaRPr lang="fr-FR" dirty="0"/>
        </a:p>
      </dgm:t>
    </dgm:pt>
    <dgm:pt modelId="{77E230DE-494C-4536-852A-255F34F7E32E}" type="parTrans" cxnId="{B43C07E1-7FDD-49F5-A55F-25785CBB639F}">
      <dgm:prSet/>
      <dgm:spPr/>
      <dgm:t>
        <a:bodyPr/>
        <a:lstStyle/>
        <a:p>
          <a:endParaRPr lang="fr-FR"/>
        </a:p>
      </dgm:t>
    </dgm:pt>
    <dgm:pt modelId="{CDF1F4F7-0367-4426-A1C4-115BD8FC51B3}" type="sibTrans" cxnId="{B43C07E1-7FDD-49F5-A55F-25785CBB639F}">
      <dgm:prSet/>
      <dgm:spPr/>
      <dgm:t>
        <a:bodyPr/>
        <a:lstStyle/>
        <a:p>
          <a:endParaRPr lang="fr-FR"/>
        </a:p>
      </dgm:t>
    </dgm:pt>
    <dgm:pt modelId="{FCA52E71-606A-4DED-B10D-6332A30F0C1C}">
      <dgm:prSet phldrT="[Texte]"/>
      <dgm:spPr/>
      <dgm:t>
        <a:bodyPr/>
        <a:lstStyle/>
        <a:p>
          <a:r>
            <a:rPr lang="fr-FR" dirty="0" err="1" smtClean="0"/>
            <a:t>Delete</a:t>
          </a:r>
          <a:endParaRPr lang="fr-FR" dirty="0"/>
        </a:p>
      </dgm:t>
    </dgm:pt>
    <dgm:pt modelId="{7ECE00AE-14FE-4D5F-9F33-3CC96F3A0D71}" type="parTrans" cxnId="{FA7A3D7C-1AD8-426D-88F5-8EB52BACABF7}">
      <dgm:prSet/>
      <dgm:spPr/>
      <dgm:t>
        <a:bodyPr/>
        <a:lstStyle/>
        <a:p>
          <a:endParaRPr lang="fr-FR"/>
        </a:p>
      </dgm:t>
    </dgm:pt>
    <dgm:pt modelId="{D0E16024-28C7-45A4-B74C-6874116C816D}" type="sibTrans" cxnId="{FA7A3D7C-1AD8-426D-88F5-8EB52BACABF7}">
      <dgm:prSet/>
      <dgm:spPr/>
      <dgm:t>
        <a:bodyPr/>
        <a:lstStyle/>
        <a:p>
          <a:endParaRPr lang="fr-FR"/>
        </a:p>
      </dgm:t>
    </dgm:pt>
    <dgm:pt modelId="{87C27F43-EC1C-477F-99C5-63A693A442DE}">
      <dgm:prSet phldrT="[Texte]"/>
      <dgm:spPr/>
      <dgm:t>
        <a:bodyPr/>
        <a:lstStyle/>
        <a:p>
          <a:r>
            <a:rPr lang="fr-FR" dirty="0" err="1" smtClean="0"/>
            <a:t>Retrospect</a:t>
          </a:r>
          <a:endParaRPr lang="fr-FR" dirty="0"/>
        </a:p>
      </dgm:t>
    </dgm:pt>
    <dgm:pt modelId="{C3A06EA1-D798-4E9C-BDC5-D7ACB38EB772}" type="parTrans" cxnId="{5312F970-6E00-438E-A854-61186AC9C298}">
      <dgm:prSet/>
      <dgm:spPr/>
      <dgm:t>
        <a:bodyPr/>
        <a:lstStyle/>
        <a:p>
          <a:endParaRPr lang="fr-FR"/>
        </a:p>
      </dgm:t>
    </dgm:pt>
    <dgm:pt modelId="{932A107C-A343-4AB0-9CE0-A90A086E96C1}" type="sibTrans" cxnId="{5312F970-6E00-438E-A854-61186AC9C298}">
      <dgm:prSet/>
      <dgm:spPr/>
      <dgm:t>
        <a:bodyPr/>
        <a:lstStyle/>
        <a:p>
          <a:endParaRPr lang="fr-FR"/>
        </a:p>
      </dgm:t>
    </dgm:pt>
    <dgm:pt modelId="{E80CD125-6C6B-4264-8B35-5CCF0EA930D4}" type="pres">
      <dgm:prSet presAssocID="{FC1139E0-3AD6-4AAE-A62E-DA6402F06BED}" presName="cycle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fr-FR"/>
        </a:p>
      </dgm:t>
    </dgm:pt>
    <dgm:pt modelId="{4F36BB52-D105-427C-A4FF-38877C7D627A}" type="pres">
      <dgm:prSet presAssocID="{FDB36C04-E136-409B-A79D-CB429449CF87}" presName="dummy" presStyleCnt="0"/>
      <dgm:spPr/>
    </dgm:pt>
    <dgm:pt modelId="{56919A46-C133-407F-95AB-75971C4DA0A9}" type="pres">
      <dgm:prSet presAssocID="{FDB36C04-E136-409B-A79D-CB429449CF87}" presName="node" presStyleLbl="revTx" presStyleIdx="0" presStyleCnt="4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451B9026-0C0C-49B9-8E98-5C53C525C1B6}" type="pres">
      <dgm:prSet presAssocID="{EBCC0293-B66B-46C9-A4D9-0FC82225B373}" presName="sibTrans" presStyleLbl="node1" presStyleIdx="0" presStyleCnt="4"/>
      <dgm:spPr/>
      <dgm:t>
        <a:bodyPr/>
        <a:lstStyle/>
        <a:p>
          <a:endParaRPr lang="fr-FR"/>
        </a:p>
      </dgm:t>
    </dgm:pt>
    <dgm:pt modelId="{EAAE6234-F9C9-40EC-BF8A-5A1A9915BE9A}" type="pres">
      <dgm:prSet presAssocID="{5BF707BD-D4B2-4685-ACB2-45690321CE58}" presName="dummy" presStyleCnt="0"/>
      <dgm:spPr/>
    </dgm:pt>
    <dgm:pt modelId="{646AC658-66B6-4370-89F6-35C56FC1DF4C}" type="pres">
      <dgm:prSet presAssocID="{5BF707BD-D4B2-4685-ACB2-45690321CE58}" presName="node" presStyleLbl="revTx" presStyleIdx="1" presStyleCnt="4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B16ED43C-C178-4D37-8B97-8F2B0C64874C}" type="pres">
      <dgm:prSet presAssocID="{CDF1F4F7-0367-4426-A1C4-115BD8FC51B3}" presName="sibTrans" presStyleLbl="node1" presStyleIdx="1" presStyleCnt="4"/>
      <dgm:spPr/>
      <dgm:t>
        <a:bodyPr/>
        <a:lstStyle/>
        <a:p>
          <a:endParaRPr lang="fr-FR"/>
        </a:p>
      </dgm:t>
    </dgm:pt>
    <dgm:pt modelId="{0BAAA326-AD8F-4679-B987-78CCB6E60907}" type="pres">
      <dgm:prSet presAssocID="{FCA52E71-606A-4DED-B10D-6332A30F0C1C}" presName="dummy" presStyleCnt="0"/>
      <dgm:spPr/>
    </dgm:pt>
    <dgm:pt modelId="{415B89D0-4894-47F2-AF9E-98CEA9F0A39C}" type="pres">
      <dgm:prSet presAssocID="{FCA52E71-606A-4DED-B10D-6332A30F0C1C}" presName="node" presStyleLbl="revTx" presStyleIdx="2" presStyleCnt="4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02F21233-C905-4FCB-BE35-4167ACAAE2C7}" type="pres">
      <dgm:prSet presAssocID="{D0E16024-28C7-45A4-B74C-6874116C816D}" presName="sibTrans" presStyleLbl="node1" presStyleIdx="2" presStyleCnt="4"/>
      <dgm:spPr/>
      <dgm:t>
        <a:bodyPr/>
        <a:lstStyle/>
        <a:p>
          <a:endParaRPr lang="fr-FR"/>
        </a:p>
      </dgm:t>
    </dgm:pt>
    <dgm:pt modelId="{DFB2B328-067B-4867-849D-3E521D90EB92}" type="pres">
      <dgm:prSet presAssocID="{87C27F43-EC1C-477F-99C5-63A693A442DE}" presName="dummy" presStyleCnt="0"/>
      <dgm:spPr/>
    </dgm:pt>
    <dgm:pt modelId="{D188617D-8E6F-48B4-A6DE-F9C025E509F1}" type="pres">
      <dgm:prSet presAssocID="{87C27F43-EC1C-477F-99C5-63A693A442DE}" presName="node" presStyleLbl="revTx" presStyleIdx="3" presStyleCnt="4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60F372F5-2ADC-4223-A510-7AAD646787A7}" type="pres">
      <dgm:prSet presAssocID="{932A107C-A343-4AB0-9CE0-A90A086E96C1}" presName="sibTrans" presStyleLbl="node1" presStyleIdx="3" presStyleCnt="4"/>
      <dgm:spPr/>
      <dgm:t>
        <a:bodyPr/>
        <a:lstStyle/>
        <a:p>
          <a:endParaRPr lang="fr-FR"/>
        </a:p>
      </dgm:t>
    </dgm:pt>
  </dgm:ptLst>
  <dgm:cxnLst>
    <dgm:cxn modelId="{B43C07E1-7FDD-49F5-A55F-25785CBB639F}" srcId="{FC1139E0-3AD6-4AAE-A62E-DA6402F06BED}" destId="{5BF707BD-D4B2-4685-ACB2-45690321CE58}" srcOrd="1" destOrd="0" parTransId="{77E230DE-494C-4536-852A-255F34F7E32E}" sibTransId="{CDF1F4F7-0367-4426-A1C4-115BD8FC51B3}"/>
    <dgm:cxn modelId="{BE86A195-85E1-4BB1-9F87-422D00CC9C26}" type="presOf" srcId="{EBCC0293-B66B-46C9-A4D9-0FC82225B373}" destId="{451B9026-0C0C-49B9-8E98-5C53C525C1B6}" srcOrd="0" destOrd="0" presId="urn:microsoft.com/office/officeart/2005/8/layout/cycle1"/>
    <dgm:cxn modelId="{C47FE848-0A49-4F48-94A0-B4215C7BD75F}" type="presOf" srcId="{D0E16024-28C7-45A4-B74C-6874116C816D}" destId="{02F21233-C905-4FCB-BE35-4167ACAAE2C7}" srcOrd="0" destOrd="0" presId="urn:microsoft.com/office/officeart/2005/8/layout/cycle1"/>
    <dgm:cxn modelId="{5312F970-6E00-438E-A854-61186AC9C298}" srcId="{FC1139E0-3AD6-4AAE-A62E-DA6402F06BED}" destId="{87C27F43-EC1C-477F-99C5-63A693A442DE}" srcOrd="3" destOrd="0" parTransId="{C3A06EA1-D798-4E9C-BDC5-D7ACB38EB772}" sibTransId="{932A107C-A343-4AB0-9CE0-A90A086E96C1}"/>
    <dgm:cxn modelId="{C114C99E-945E-4D59-90A9-C169F17291FD}" type="presOf" srcId="{FCA52E71-606A-4DED-B10D-6332A30F0C1C}" destId="{415B89D0-4894-47F2-AF9E-98CEA9F0A39C}" srcOrd="0" destOrd="0" presId="urn:microsoft.com/office/officeart/2005/8/layout/cycle1"/>
    <dgm:cxn modelId="{2AD44749-9489-4E04-844F-2548FA4AA0DB}" type="presOf" srcId="{CDF1F4F7-0367-4426-A1C4-115BD8FC51B3}" destId="{B16ED43C-C178-4D37-8B97-8F2B0C64874C}" srcOrd="0" destOrd="0" presId="urn:microsoft.com/office/officeart/2005/8/layout/cycle1"/>
    <dgm:cxn modelId="{0D614C0F-11BD-4E27-A7AA-A0809E6B5D05}" srcId="{FC1139E0-3AD6-4AAE-A62E-DA6402F06BED}" destId="{FDB36C04-E136-409B-A79D-CB429449CF87}" srcOrd="0" destOrd="0" parTransId="{249FFD23-30A0-4D16-A3F9-0B4487901E9D}" sibTransId="{EBCC0293-B66B-46C9-A4D9-0FC82225B373}"/>
    <dgm:cxn modelId="{EDF1D634-D86B-461D-AA38-E80C0CB01D7E}" type="presOf" srcId="{FC1139E0-3AD6-4AAE-A62E-DA6402F06BED}" destId="{E80CD125-6C6B-4264-8B35-5CCF0EA930D4}" srcOrd="0" destOrd="0" presId="urn:microsoft.com/office/officeart/2005/8/layout/cycle1"/>
    <dgm:cxn modelId="{DDD7FE48-BC77-4CD4-88F3-D67CB47BFBAA}" type="presOf" srcId="{5BF707BD-D4B2-4685-ACB2-45690321CE58}" destId="{646AC658-66B6-4370-89F6-35C56FC1DF4C}" srcOrd="0" destOrd="0" presId="urn:microsoft.com/office/officeart/2005/8/layout/cycle1"/>
    <dgm:cxn modelId="{FA7A3D7C-1AD8-426D-88F5-8EB52BACABF7}" srcId="{FC1139E0-3AD6-4AAE-A62E-DA6402F06BED}" destId="{FCA52E71-606A-4DED-B10D-6332A30F0C1C}" srcOrd="2" destOrd="0" parTransId="{7ECE00AE-14FE-4D5F-9F33-3CC96F3A0D71}" sibTransId="{D0E16024-28C7-45A4-B74C-6874116C816D}"/>
    <dgm:cxn modelId="{421C5B25-CEF0-4492-9516-6E834F9C050D}" type="presOf" srcId="{87C27F43-EC1C-477F-99C5-63A693A442DE}" destId="{D188617D-8E6F-48B4-A6DE-F9C025E509F1}" srcOrd="0" destOrd="0" presId="urn:microsoft.com/office/officeart/2005/8/layout/cycle1"/>
    <dgm:cxn modelId="{E1BBFE8B-D0BB-425D-87AA-D8DFF66ABE6E}" type="presOf" srcId="{FDB36C04-E136-409B-A79D-CB429449CF87}" destId="{56919A46-C133-407F-95AB-75971C4DA0A9}" srcOrd="0" destOrd="0" presId="urn:microsoft.com/office/officeart/2005/8/layout/cycle1"/>
    <dgm:cxn modelId="{58FE959D-3EFE-4041-A21D-38FE93A9FB5D}" type="presOf" srcId="{932A107C-A343-4AB0-9CE0-A90A086E96C1}" destId="{60F372F5-2ADC-4223-A510-7AAD646787A7}" srcOrd="0" destOrd="0" presId="urn:microsoft.com/office/officeart/2005/8/layout/cycle1"/>
    <dgm:cxn modelId="{2C4F4DD6-36E1-4731-B68B-24CC00369F98}" type="presParOf" srcId="{E80CD125-6C6B-4264-8B35-5CCF0EA930D4}" destId="{4F36BB52-D105-427C-A4FF-38877C7D627A}" srcOrd="0" destOrd="0" presId="urn:microsoft.com/office/officeart/2005/8/layout/cycle1"/>
    <dgm:cxn modelId="{37047C94-7EED-4D88-A1C8-12675F1942BC}" type="presParOf" srcId="{E80CD125-6C6B-4264-8B35-5CCF0EA930D4}" destId="{56919A46-C133-407F-95AB-75971C4DA0A9}" srcOrd="1" destOrd="0" presId="urn:microsoft.com/office/officeart/2005/8/layout/cycle1"/>
    <dgm:cxn modelId="{3FF6DA66-FC77-4DD1-B7B7-0CE185FFAE13}" type="presParOf" srcId="{E80CD125-6C6B-4264-8B35-5CCF0EA930D4}" destId="{451B9026-0C0C-49B9-8E98-5C53C525C1B6}" srcOrd="2" destOrd="0" presId="urn:microsoft.com/office/officeart/2005/8/layout/cycle1"/>
    <dgm:cxn modelId="{E307269D-562B-411D-AC83-3C72947C3FB7}" type="presParOf" srcId="{E80CD125-6C6B-4264-8B35-5CCF0EA930D4}" destId="{EAAE6234-F9C9-40EC-BF8A-5A1A9915BE9A}" srcOrd="3" destOrd="0" presId="urn:microsoft.com/office/officeart/2005/8/layout/cycle1"/>
    <dgm:cxn modelId="{B017478E-14FF-462C-A15F-1C07B7FB3942}" type="presParOf" srcId="{E80CD125-6C6B-4264-8B35-5CCF0EA930D4}" destId="{646AC658-66B6-4370-89F6-35C56FC1DF4C}" srcOrd="4" destOrd="0" presId="urn:microsoft.com/office/officeart/2005/8/layout/cycle1"/>
    <dgm:cxn modelId="{FE24D683-7DCF-477B-8C4F-5808F1D8A946}" type="presParOf" srcId="{E80CD125-6C6B-4264-8B35-5CCF0EA930D4}" destId="{B16ED43C-C178-4D37-8B97-8F2B0C64874C}" srcOrd="5" destOrd="0" presId="urn:microsoft.com/office/officeart/2005/8/layout/cycle1"/>
    <dgm:cxn modelId="{61DEE83B-4F59-4A73-B398-05045CDE8A31}" type="presParOf" srcId="{E80CD125-6C6B-4264-8B35-5CCF0EA930D4}" destId="{0BAAA326-AD8F-4679-B987-78CCB6E60907}" srcOrd="6" destOrd="0" presId="urn:microsoft.com/office/officeart/2005/8/layout/cycle1"/>
    <dgm:cxn modelId="{4A796DA8-99AB-4CBF-97A4-05B01AA4C9B1}" type="presParOf" srcId="{E80CD125-6C6B-4264-8B35-5CCF0EA930D4}" destId="{415B89D0-4894-47F2-AF9E-98CEA9F0A39C}" srcOrd="7" destOrd="0" presId="urn:microsoft.com/office/officeart/2005/8/layout/cycle1"/>
    <dgm:cxn modelId="{74631D4E-7B71-42C2-A3FD-9B7FDA8DB83F}" type="presParOf" srcId="{E80CD125-6C6B-4264-8B35-5CCF0EA930D4}" destId="{02F21233-C905-4FCB-BE35-4167ACAAE2C7}" srcOrd="8" destOrd="0" presId="urn:microsoft.com/office/officeart/2005/8/layout/cycle1"/>
    <dgm:cxn modelId="{78663723-55D2-4823-A2BD-04511788B8C8}" type="presParOf" srcId="{E80CD125-6C6B-4264-8B35-5CCF0EA930D4}" destId="{DFB2B328-067B-4867-849D-3E521D90EB92}" srcOrd="9" destOrd="0" presId="urn:microsoft.com/office/officeart/2005/8/layout/cycle1"/>
    <dgm:cxn modelId="{550D19F2-4D2B-4A93-B360-A8B2C56D5601}" type="presParOf" srcId="{E80CD125-6C6B-4264-8B35-5CCF0EA930D4}" destId="{D188617D-8E6F-48B4-A6DE-F9C025E509F1}" srcOrd="10" destOrd="0" presId="urn:microsoft.com/office/officeart/2005/8/layout/cycle1"/>
    <dgm:cxn modelId="{15CBB308-EA83-4E4B-B0BC-AB0E22838986}" type="presParOf" srcId="{E80CD125-6C6B-4264-8B35-5CCF0EA930D4}" destId="{60F372F5-2ADC-4223-A510-7AAD646787A7}" srcOrd="11" destOrd="0" presId="urn:microsoft.com/office/officeart/2005/8/layout/cycle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1">
  <dgm:title val=""/>
  <dgm:desc val=""/>
  <dgm:catLst>
    <dgm:cat type="cycle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alg type="cycle">
          <dgm:param type="stAng" val="0"/>
          <dgm:param type="spanAng" val="360"/>
        </dgm:alg>
      </dgm:if>
      <dgm:else name="Name2">
        <dgm:alg type="cycle">
          <dgm:param type="stAng" val="0"/>
          <dgm:param type="spanAng" val="-360"/>
        </dgm:alg>
      </dgm:else>
    </dgm:choose>
    <dgm:shape xmlns:r="http://schemas.openxmlformats.org/officeDocument/2006/relationships" r:blip="">
      <dgm:adjLst/>
    </dgm:shape>
    <dgm:presOf/>
    <dgm:choose name="Name3">
      <dgm:if name="Name4" func="var" arg="dir" op="equ" val="norm">
        <dgm:constrLst>
          <dgm:constr type="diam" val="1"/>
          <dgm:constr type="w" for="ch" forName="node" refType="w"/>
          <dgm:constr type="w" for="ch" ptType="sibTrans" refType="w" refFor="ch" refForName="node" fact="0.5"/>
          <dgm:constr type="h" for="ch" ptType="sibTrans" op="equ"/>
          <dgm:constr type="diam" for="ch" ptType="sibTrans" refType="diam" op="equ"/>
          <dgm:constr type="sibSp" refType="w" refFor="ch" refForName="node" fact="0.15"/>
          <dgm:constr type="w" for="ch" forName="dummy" refType="sibSp" fact="2.8"/>
          <dgm:constr type="primFontSz" for="ch" forName="node" op="equ" val="65"/>
        </dgm:constrLst>
      </dgm:if>
      <dgm:else name="Name5">
        <dgm:constrLst>
          <dgm:constr type="diam" val="1"/>
          <dgm:constr type="w" for="ch" forName="node" refType="w"/>
          <dgm:constr type="w" for="ch" ptType="sibTrans" refType="w" refFor="ch" refForName="node" fact="0.5"/>
          <dgm:constr type="h" for="ch" ptType="sibTrans" op="equ"/>
          <dgm:constr type="diam" for="ch" ptType="sibTrans" refType="diam" op="equ" fact="-1"/>
          <dgm:constr type="sibSp" refType="w" refFor="ch" refForName="node" fact="0.15"/>
          <dgm:constr type="w" for="ch" forName="dummy" refType="sibSp" fact="2.8"/>
          <dgm:constr type="primFontSz" for="ch" forName="node" op="equ" val="65"/>
        </dgm:constrLst>
      </dgm:else>
    </dgm:choose>
    <dgm:ruleLst>
      <dgm:rule type="diam" val="INF" fact="NaN" max="NaN"/>
    </dgm:ruleLst>
    <dgm:forEach name="nodesForEach" axis="ch" ptType="node">
      <dgm:choose name="Name6">
        <dgm:if name="Name7" axis="par ch" ptType="doc node" func="cnt" op="gt" val="1">
          <dgm:layoutNode name="dummy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</dgm:if>
        <dgm:else name="Name8"/>
      </dgm:choose>
      <dgm:layoutNode name="node" styleLbl="revTx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>
          <dgm:adjLst/>
        </dgm:shape>
        <dgm:presOf axis="desOrSelf" ptType="node"/>
        <dgm:constrLst>
          <dgm:constr type="h" refType="w"/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9">
        <dgm:if name="Name10" axis="par ch" ptType="doc node" func="cnt" op="gt" val="1">
          <dgm:forEach name="Name11" axis="followSib" ptType="sibTrans" hideLastTrans="0" cnt="1">
            <dgm:layoutNode name="sibTrans" styleLbl="node1">
              <dgm:alg type="conn">
                <dgm:param type="connRout" val="curve"/>
                <dgm:param type="begPts" val="radial"/>
                <dgm:param type="endPts" val="radial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begPad"/>
                <dgm:constr type="endPad"/>
              </dgm:constrLst>
              <dgm:ruleLst/>
            </dgm:layoutNode>
          </dgm:forEach>
        </dgm:if>
        <dgm:else name="Name12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EB57F59-EA4B-481C-8CAD-A3594650AB31}" type="datetimeFigureOut">
              <a:rPr lang="fr-FR" smtClean="0"/>
              <a:t>02/06/2015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04BC378-CD28-4A9F-A116-873887AAF80F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0959799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8259D5-8B55-4FAD-ACA1-5B2C3EC5ACF6}" type="datetimeFigureOut">
              <a:rPr lang="fr-FR" smtClean="0"/>
              <a:t>02/06/2015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F4C3A27-6B36-4B84-9D11-E6473B4A342D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7286678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29/04/2013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F4C3A27-6B36-4B84-9D11-E6473B4A342D}" type="slidenum">
              <a:rPr lang="fr-FR" smtClean="0"/>
              <a:t>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1306458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oleObject" Target="../embeddings/oleObject2.bin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8.xml"/><Relationship Id="rId4" Type="http://schemas.openxmlformats.org/officeDocument/2006/relationships/tags" Target="../tags/tag7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4.xml"/><Relationship Id="rId4" Type="http://schemas.openxmlformats.org/officeDocument/2006/relationships/tags" Target="../tags/tag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smtClean="0"/>
              <a:t>Modifiez le style des sous-titres du masque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9B5DDCBF-14BD-4037-A6C5-42AD84C49FDF}" type="datetimeFigureOut">
              <a:rPr lang="fr-FR" smtClean="0"/>
              <a:t>02/06/2015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1E5FE5AE-05F7-470B-A42F-6185BE8D780C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477033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fr-FR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5DC5508-8451-485B-A39E-0CCA81412775}" type="slidenum">
              <a:rPr lang="en-US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141556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9BD161F-4031-4EBD-AA48-01ADEFEC60FB}" type="slidenum">
              <a:rPr lang="en-US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853571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AB2DCF1-6B72-48CF-90B4-78C8AEA154B9}" type="slidenum">
              <a:rPr lang="en-US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238694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0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  <p:custDataLst>
              <p:tags r:id="rId4"/>
            </p:custDataLst>
          </p:nvPr>
        </p:nvSpPr>
        <p:spPr/>
        <p:txBody>
          <a:bodyPr/>
          <a:lstStyle/>
          <a:p>
            <a:fld id="{E12F788F-0757-4F74-8933-1C2656B44445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  <p:custDataLst>
              <p:tags r:id="rId5"/>
            </p:custDataLst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03932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2204864"/>
            <a:ext cx="8229600" cy="39212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BE7FC98-F726-4387-BD61-63831D042500}" type="slidenum">
              <a:rPr lang="en-US"/>
              <a:pPr/>
              <a:t>‹N°›</a:t>
            </a:fld>
            <a:endParaRPr lang="en-US"/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1205880"/>
            <a:ext cx="8229600" cy="7829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503415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smtClean="0"/>
              <a:t>Modifiez le style des sous-titres du masque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7EA0D3-7B0F-43CC-83D3-741EA48248DA}" type="datetimeFigureOut">
              <a:rPr lang="fr-FR" smtClean="0"/>
              <a:t>02/06/2015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868AFA-A3D8-4F00-BFA5-9EC4E82D2BF4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8409994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7EA0D3-7B0F-43CC-83D3-741EA48248DA}" type="datetimeFigureOut">
              <a:rPr lang="fr-FR" smtClean="0"/>
              <a:t>02/06/2015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868AFA-A3D8-4F00-BFA5-9EC4E82D2BF4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9416968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7EA0D3-7B0F-43CC-83D3-741EA48248DA}" type="datetimeFigureOut">
              <a:rPr lang="fr-FR" smtClean="0"/>
              <a:t>02/06/2015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868AFA-A3D8-4F00-BFA5-9EC4E82D2BF4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9280818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7EA0D3-7B0F-43CC-83D3-741EA48248DA}" type="datetimeFigureOut">
              <a:rPr lang="fr-FR" smtClean="0"/>
              <a:t>02/06/2015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868AFA-A3D8-4F00-BFA5-9EC4E82D2BF4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153538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7EA0D3-7B0F-43CC-83D3-741EA48248DA}" type="datetimeFigureOut">
              <a:rPr lang="fr-FR" smtClean="0"/>
              <a:t>02/06/2015</a:t>
            </a:fld>
            <a:endParaRPr lang="fr-FR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868AFA-A3D8-4F00-BFA5-9EC4E82D2BF4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9290068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9B5DDCBF-14BD-4037-A6C5-42AD84C49FDF}" type="datetimeFigureOut">
              <a:rPr lang="fr-FR" smtClean="0"/>
              <a:t>02/06/2015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1E5FE5AE-05F7-470B-A42F-6185BE8D780C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136990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7EA0D3-7B0F-43CC-83D3-741EA48248DA}" type="datetimeFigureOut">
              <a:rPr lang="fr-FR" smtClean="0"/>
              <a:t>02/06/2015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868AFA-A3D8-4F00-BFA5-9EC4E82D2BF4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7301144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7EA0D3-7B0F-43CC-83D3-741EA48248DA}" type="datetimeFigureOut">
              <a:rPr lang="fr-FR" smtClean="0"/>
              <a:t>02/06/2015</a:t>
            </a:fld>
            <a:endParaRPr lang="fr-FR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868AFA-A3D8-4F00-BFA5-9EC4E82D2BF4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3711333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7EA0D3-7B0F-43CC-83D3-741EA48248DA}" type="datetimeFigureOut">
              <a:rPr lang="fr-FR" smtClean="0"/>
              <a:t>02/06/2015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868AFA-A3D8-4F00-BFA5-9EC4E82D2BF4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5971416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7EA0D3-7B0F-43CC-83D3-741EA48248DA}" type="datetimeFigureOut">
              <a:rPr lang="fr-FR" smtClean="0"/>
              <a:t>02/06/2015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868AFA-A3D8-4F00-BFA5-9EC4E82D2BF4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4772092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7EA0D3-7B0F-43CC-83D3-741EA48248DA}" type="datetimeFigureOut">
              <a:rPr lang="fr-FR" smtClean="0"/>
              <a:t>02/06/2015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868AFA-A3D8-4F00-BFA5-9EC4E82D2BF4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4395051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7EA0D3-7B0F-43CC-83D3-741EA48248DA}" type="datetimeFigureOut">
              <a:rPr lang="fr-FR" smtClean="0"/>
              <a:t>02/06/2015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868AFA-A3D8-4F00-BFA5-9EC4E82D2BF4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2080482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  <p:custDataLst>
              <p:tags r:id="rId4"/>
            </p:custDataLst>
          </p:nvPr>
        </p:nvSpPr>
        <p:spPr/>
        <p:txBody>
          <a:bodyPr/>
          <a:lstStyle/>
          <a:p>
            <a:fld id="{E12F788F-0757-4F74-8933-1C2656B44445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  <p:custDataLst>
              <p:tags r:id="rId5"/>
            </p:custDataLst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173681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2204864"/>
            <a:ext cx="8229600" cy="39212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BE7FC98-F726-4387-BD61-63831D042500}" type="slidenum">
              <a:rPr lang="en-US"/>
              <a:pPr/>
              <a:t>‹N°›</a:t>
            </a:fld>
            <a:endParaRPr lang="en-US"/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1205880"/>
            <a:ext cx="8229600" cy="7829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677421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fr-FR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DC32874-BA58-4059-9FA9-F661A69B61AF}" type="slidenum">
              <a:rPr lang="en-US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69076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fr-FR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A9F30DF-C569-4111-86DE-159B20EE983B}" type="slidenum">
              <a:rPr lang="en-US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573757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fr-FR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B36AA4E-BBB7-4C73-A4A4-12AB7C1A4201}" type="slidenum">
              <a:rPr lang="en-US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764811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fr-FR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6D401C7-445D-4F26-B0D0-F9693DCB8CE3}" type="slidenum">
              <a:rPr lang="en-US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328888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fr-FR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C383194-92EE-4484-A7AB-A06E91293D66}" type="slidenum">
              <a:rPr lang="en-US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2221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5.xml"/><Relationship Id="rId7" Type="http://schemas.openxmlformats.org/officeDocument/2006/relationships/slideLayout" Target="../slideLayouts/slideLayout9.xml"/><Relationship Id="rId12" Type="http://schemas.openxmlformats.org/officeDocument/2006/relationships/slideLayout" Target="../slideLayouts/slideLayout14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slideLayout" Target="../slideLayouts/slideLayout13.xml"/><Relationship Id="rId5" Type="http://schemas.openxmlformats.org/officeDocument/2006/relationships/slideLayout" Target="../slideLayouts/slideLayout7.xml"/><Relationship Id="rId15" Type="http://schemas.openxmlformats.org/officeDocument/2006/relationships/image" Target="../media/image3.jpeg"/><Relationship Id="rId10" Type="http://schemas.openxmlformats.org/officeDocument/2006/relationships/slideLayout" Target="../slideLayouts/slideLayout12.xml"/><Relationship Id="rId4" Type="http://schemas.openxmlformats.org/officeDocument/2006/relationships/slideLayout" Target="../slideLayouts/slideLayout6.xml"/><Relationship Id="rId9" Type="http://schemas.openxmlformats.org/officeDocument/2006/relationships/slideLayout" Target="../slideLayouts/slideLayout11.xml"/><Relationship Id="rId14" Type="http://schemas.openxmlformats.org/officeDocument/2006/relationships/image" Target="../media/image2.jpe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3" descr="Front Template.jpg"/>
          <p:cNvPicPr>
            <a:picLocks noChangeAspect="1"/>
          </p:cNvPicPr>
          <p:nvPr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2081123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4" descr="BetClic Everest Template.jpg"/>
          <p:cNvPicPr>
            <a:picLocks noChangeAspect="1"/>
          </p:cNvPicPr>
          <p:nvPr/>
        </p:nvPicPr>
        <p:blipFill>
          <a:blip r:embed="rId15" cstate="email"/>
          <a:srcRect/>
          <a:stretch>
            <a:fillRect/>
          </a:stretch>
        </p:blipFill>
        <p:spPr bwMode="auto">
          <a:xfrm>
            <a:off x="0" y="0"/>
            <a:ext cx="9144000" cy="13407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1205880"/>
            <a:ext cx="8229600" cy="8549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2060848"/>
            <a:ext cx="8229600" cy="40653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898989"/>
                </a:solidFill>
                <a:latin typeface="Calibri" pitchFamily="-65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US">
              <a:ea typeface="ＭＳ Ｐゴシック" pitchFamily="-65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1200">
                <a:solidFill>
                  <a:srgbClr val="898989"/>
                </a:solidFill>
                <a:latin typeface="Calibri" pitchFamily="-65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fr-FR">
              <a:ea typeface="ＭＳ Ｐゴシック" pitchFamily="-65" charset="-128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  <a:latin typeface="Calibri" pitchFamily="-65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AC9E2451-CB33-4F6A-B952-7BC24754B2E4}" type="slidenum">
              <a:rPr lang="en-US">
                <a:ea typeface="ＭＳ Ｐゴシック" pitchFamily="-65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N°›</a:t>
            </a:fld>
            <a:endParaRPr lang="en-US">
              <a:ea typeface="ＭＳ Ｐゴシック" pitchFamily="-65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702039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  <p:sldLayoutId id="2147483685" r:id="rId8"/>
    <p:sldLayoutId id="2147483686" r:id="rId9"/>
    <p:sldLayoutId id="2147483687" r:id="rId10"/>
    <p:sldLayoutId id="2147483688" r:id="rId11"/>
    <p:sldLayoutId id="2147483689" r:id="rId12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defTabSz="457200" rtl="0" fontAlgn="base">
        <a:spcBef>
          <a:spcPct val="0"/>
        </a:spcBef>
        <a:spcAft>
          <a:spcPct val="0"/>
        </a:spcAft>
        <a:defRPr sz="2800" kern="1200">
          <a:solidFill>
            <a:srgbClr val="500050"/>
          </a:solidFill>
          <a:latin typeface="+mj-lt"/>
          <a:ea typeface="ＭＳ Ｐゴシック" pitchFamily="-65" charset="-128"/>
          <a:cs typeface="+mj-cs"/>
        </a:defRPr>
      </a:lvl1pPr>
      <a:lvl2pPr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65" charset="0"/>
          <a:ea typeface="ＭＳ Ｐゴシック" pitchFamily="-65" charset="-128"/>
        </a:defRPr>
      </a:lvl2pPr>
      <a:lvl3pPr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65" charset="0"/>
          <a:ea typeface="ＭＳ Ｐゴシック" pitchFamily="-65" charset="-128"/>
        </a:defRPr>
      </a:lvl3pPr>
      <a:lvl4pPr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65" charset="0"/>
          <a:ea typeface="ＭＳ Ｐゴシック" pitchFamily="-65" charset="-128"/>
        </a:defRPr>
      </a:lvl4pPr>
      <a:lvl5pPr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65" charset="0"/>
          <a:ea typeface="ＭＳ Ｐゴシック" pitchFamily="-65" charset="-128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65" charset="0"/>
          <a:ea typeface="ＭＳ Ｐゴシック" pitchFamily="-65" charset="-128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65" charset="0"/>
          <a:ea typeface="ＭＳ Ｐゴシック" pitchFamily="-65" charset="-128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65" charset="0"/>
          <a:ea typeface="ＭＳ Ｐゴシック" pitchFamily="-65" charset="-128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65" charset="0"/>
          <a:ea typeface="ＭＳ Ｐゴシック" pitchFamily="-65" charset="-128"/>
        </a:defRPr>
      </a:lvl9pPr>
    </p:titleStyle>
    <p:bodyStyle>
      <a:lvl1pPr marL="342900" marR="0" indent="-342900" algn="l" defTabSz="914400" rtl="0" eaLnBrk="1" fontAlgn="base" latinLnBrk="0" hangingPunct="1">
        <a:lnSpc>
          <a:spcPct val="90000"/>
        </a:lnSpc>
        <a:spcBef>
          <a:spcPts val="400"/>
        </a:spcBef>
        <a:spcAft>
          <a:spcPct val="0"/>
        </a:spcAft>
        <a:buClr>
          <a:srgbClr val="D09E00"/>
        </a:buClr>
        <a:buSzTx/>
        <a:buFont typeface="Arial" charset="0"/>
        <a:buChar char="•"/>
        <a:tabLst/>
        <a:defRPr kumimoji="0" lang="en-US" sz="1800" b="0" i="0" u="none" strike="noStrike" kern="0" cap="none" spc="0" normalizeH="0" baseline="0" noProof="0" dirty="0" smtClean="0">
          <a:ln>
            <a:noFill/>
          </a:ln>
          <a:solidFill>
            <a:srgbClr val="000000"/>
          </a:solidFill>
          <a:effectLst/>
          <a:uLnTx/>
          <a:uFillTx/>
          <a:latin typeface="Arial"/>
          <a:ea typeface="+mn-ea"/>
          <a:cs typeface="+mn-cs"/>
        </a:defRPr>
      </a:lvl1pPr>
      <a:lvl2pPr marL="742950" marR="0" indent="-285750" algn="l" defTabSz="914400" rtl="0" eaLnBrk="1" fontAlgn="base" latinLnBrk="0" hangingPunct="1">
        <a:lnSpc>
          <a:spcPct val="90000"/>
        </a:lnSpc>
        <a:spcBef>
          <a:spcPts val="400"/>
        </a:spcBef>
        <a:spcAft>
          <a:spcPct val="0"/>
        </a:spcAft>
        <a:buClr>
          <a:srgbClr val="D09E00"/>
        </a:buClr>
        <a:buSzTx/>
        <a:buFont typeface="Arial" charset="0"/>
        <a:buChar char="–"/>
        <a:tabLst/>
        <a:defRPr kumimoji="0" lang="en-US" sz="1600" b="0" i="0" u="none" strike="noStrike" kern="0" cap="none" spc="0" normalizeH="0" baseline="0" noProof="0" dirty="0" smtClean="0">
          <a:ln>
            <a:noFill/>
          </a:ln>
          <a:solidFill>
            <a:srgbClr val="000000"/>
          </a:solidFill>
          <a:effectLst/>
          <a:uLnTx/>
          <a:uFillTx/>
          <a:latin typeface="Arial"/>
          <a:ea typeface="+mn-ea"/>
          <a:cs typeface="+mn-cs"/>
        </a:defRPr>
      </a:lvl2pPr>
      <a:lvl3pPr marL="1143000" marR="0" indent="-228600" algn="l" defTabSz="914400" rtl="0" eaLnBrk="1" fontAlgn="base" latinLnBrk="0" hangingPunct="1">
        <a:lnSpc>
          <a:spcPct val="90000"/>
        </a:lnSpc>
        <a:spcBef>
          <a:spcPts val="400"/>
        </a:spcBef>
        <a:spcAft>
          <a:spcPct val="0"/>
        </a:spcAft>
        <a:buClr>
          <a:srgbClr val="D09E00"/>
        </a:buClr>
        <a:buSzTx/>
        <a:buFont typeface="Arial" charset="0"/>
        <a:buChar char="•"/>
        <a:tabLst/>
        <a:defRPr kumimoji="0" lang="en-US" sz="1600" b="0" i="0" u="none" strike="noStrike" kern="0" cap="none" spc="0" normalizeH="0" baseline="0" noProof="0" dirty="0" smtClean="0">
          <a:ln>
            <a:noFill/>
          </a:ln>
          <a:solidFill>
            <a:srgbClr val="000000"/>
          </a:solidFill>
          <a:effectLst/>
          <a:uLnTx/>
          <a:uFillTx/>
          <a:latin typeface="Arial"/>
          <a:ea typeface="+mn-ea"/>
          <a:cs typeface="+mn-cs"/>
        </a:defRPr>
      </a:lvl3pPr>
      <a:lvl4pPr marL="1600200" marR="0" indent="-228600" algn="l" defTabSz="914400" rtl="0" eaLnBrk="1" fontAlgn="base" latinLnBrk="0" hangingPunct="1">
        <a:lnSpc>
          <a:spcPct val="90000"/>
        </a:lnSpc>
        <a:spcBef>
          <a:spcPts val="400"/>
        </a:spcBef>
        <a:spcAft>
          <a:spcPct val="0"/>
        </a:spcAft>
        <a:buClr>
          <a:srgbClr val="D09E00"/>
        </a:buClr>
        <a:buSzTx/>
        <a:buFont typeface="Arial" charset="0"/>
        <a:buChar char="–"/>
        <a:tabLst/>
        <a:defRPr kumimoji="0" lang="en-US" sz="1600" b="0" i="0" u="none" strike="noStrike" kern="0" cap="none" spc="0" normalizeH="0" baseline="0" noProof="0" dirty="0" smtClean="0">
          <a:ln>
            <a:noFill/>
          </a:ln>
          <a:solidFill>
            <a:srgbClr val="000000"/>
          </a:solidFill>
          <a:effectLst/>
          <a:uLnTx/>
          <a:uFillTx/>
          <a:latin typeface="Arial"/>
          <a:ea typeface="+mn-ea"/>
          <a:cs typeface="+mn-cs"/>
        </a:defRPr>
      </a:lvl4pPr>
      <a:lvl5pPr marL="2057400" marR="0" indent="-228600" algn="l" defTabSz="914400" rtl="0" eaLnBrk="1" fontAlgn="base" latinLnBrk="0" hangingPunct="1">
        <a:lnSpc>
          <a:spcPct val="90000"/>
        </a:lnSpc>
        <a:spcBef>
          <a:spcPts val="400"/>
        </a:spcBef>
        <a:spcAft>
          <a:spcPct val="0"/>
        </a:spcAft>
        <a:buClr>
          <a:srgbClr val="D09E00"/>
        </a:buClr>
        <a:buSzTx/>
        <a:buFont typeface="Arial" charset="0"/>
        <a:buChar char="»"/>
        <a:tabLst/>
        <a:defRPr kumimoji="0" lang="en-US" sz="1600" b="0" i="0" u="none" strike="noStrike" kern="0" cap="none" spc="0" normalizeH="0" baseline="0" noProof="0" dirty="0" smtClean="0">
          <a:ln>
            <a:noFill/>
          </a:ln>
          <a:solidFill>
            <a:srgbClr val="000000"/>
          </a:solidFill>
          <a:effectLst/>
          <a:uLnTx/>
          <a:uFillTx/>
          <a:latin typeface="Arial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F7EA0D3-7B0F-43CC-83D3-741EA48248DA}" type="datetimeFigureOut">
              <a:rPr lang="fr-FR" smtClean="0"/>
              <a:t>02/06/2015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2868AFA-A3D8-4F00-BFA5-9EC4E82D2BF4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452290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</p:sldLayoutIdLst>
  <p:timing>
    <p:tnLst>
      <p:par>
        <p:cTn id="1" dur="indefinite" restart="never" nodeType="tmRoot"/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g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0" y="2708920"/>
            <a:ext cx="9144000" cy="2016224"/>
          </a:xfrm>
        </p:spPr>
        <p:txBody>
          <a:bodyPr/>
          <a:lstStyle/>
          <a:p>
            <a:r>
              <a:rPr lang="fr-FR" b="1" dirty="0" smtClean="0"/>
              <a:t>Code Dojo –</a:t>
            </a:r>
            <a:r>
              <a:rPr lang="fr-FR" b="1" dirty="0"/>
              <a:t> </a:t>
            </a:r>
            <a:r>
              <a:rPr lang="fr-FR" b="1" dirty="0" smtClean="0"/>
              <a:t>Game </a:t>
            </a:r>
            <a:r>
              <a:rPr lang="fr-FR" b="1" dirty="0"/>
              <a:t>of life</a:t>
            </a:r>
          </a:p>
        </p:txBody>
      </p:sp>
      <p:sp>
        <p:nvSpPr>
          <p:cNvPr id="3" name="ZoneTexte 2"/>
          <p:cNvSpPr txBox="1"/>
          <p:nvPr/>
        </p:nvSpPr>
        <p:spPr>
          <a:xfrm>
            <a:off x="3203848" y="4078813"/>
            <a:ext cx="249299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3600" b="1" dirty="0" smtClean="0">
                <a:solidFill>
                  <a:schemeClr val="bg2">
                    <a:lumMod val="75000"/>
                  </a:schemeClr>
                </a:solidFill>
              </a:rPr>
              <a:t>02/06/2015</a:t>
            </a:r>
            <a:endParaRPr lang="fr-FR" sz="3600" b="1" dirty="0">
              <a:solidFill>
                <a:schemeClr val="bg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33742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http://www.google.fr/url?source=imglanding&amp;ct=img&amp;q=http://static.giantbomb.com/uploads/scale_small/9/95666/1880410-pikachupichuraichuevolutionpika.gif&amp;sa=X&amp;ei=qAlsVd-oDIGfULiZgeAI&amp;ved=0CAkQ8wc&amp;usg=AFQjCNG9oifSji2tSvb8ZXxE2LwBTYV0k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15206" y="4914140"/>
            <a:ext cx="1989994" cy="19186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1331640" y="980728"/>
            <a:ext cx="5940152" cy="599478"/>
          </a:xfrm>
        </p:spPr>
        <p:txBody>
          <a:bodyPr/>
          <a:lstStyle/>
          <a:p>
            <a:r>
              <a:rPr lang="en-US" sz="3600" dirty="0" smtClean="0"/>
              <a:t>Summary</a:t>
            </a:r>
            <a:endParaRPr lang="en-US" sz="2400" dirty="0"/>
          </a:p>
        </p:txBody>
      </p:sp>
      <p:sp>
        <p:nvSpPr>
          <p:cNvPr id="8" name="AutoShape 10" descr="data:image/jpeg;base64,/9j/4AAQSkZJRgABAQAAAQABAAD/2wCEAAkGBhQSEBQUExMWFRUVFRgaGBgXFhoeFxoXGhkbFxoYHxgcHDIeGBkjGxgeHy8gIycpLSwvGB8yNjIqNiYtLCoBCQoKDgwOGg8PGi8kHyUsKSwpLCwsLCwqLCwsLCwsLCwsLCwsLCwsLCwsLCwpLCwsLCwsLCwsLCwpLCwsLCwsLP/AABEIAKgBLAMBIgACEQEDEQH/xAAcAAACAgMBAQAAAAAAAAAAAAAEBQMGAAECBwj/xAA/EAACAgEDAwIEBAQCCQUAAwABAgMREgAEIQUiMRNBBjJRYSNCcZEUUoGhFTNTYnKCscHR4fAHFiRD8WNzsv/EABoBAAMBAQEBAAAAAAAAAAAAAAECAwAEBQb/xAAuEQACAgEDAwIFAwUBAAAAAAAAAQIRIQMSMRNBUQQiBWFxgaEyUpEjM0LR8BX/2gAMAwEAAhEDEQA/APTxreuc9Znrus4aOtZrnPWZa1mo6rWVrnPWZ61mo6rWtc56zPRsO03WsrXOetepzrWaiUPrPU1HnrRbQwNklz1sHUGesz0KDZNnrRbUOes9TQoNkutYjUfqa0W1sgJeNby1EG1megwo7L6jMut3pZ1WckBEJzLDwa8FbF/odBtIKyHPJqJn1R91NKvP8S/kihI1+/t9ARWmfw91tR6gll/MAob2AHPtwP10LHofTtxpN1hzhXNZD3seL40x3O/DBSrAg3z7HVf6vugPOI5Py37Cufprn1E2ysHRB0Nb3Uf2yb9lP/XV19Q6qnw3F3LKObLJ4aqADEilNmlPF39tN95upAeMlGfP4RrEFwRkTwDh83nuGjCaiqZpR3O0NQ51mWqTvuvTKHCyOCIyQQmQyJEakn2pmBr3rXW867KudO5xikY0gY9qkjz47q/U0NP1UL02XO9Zqi7rdM7wh2LEfNwT2imfgEAcA8nx7aBhndUgYM4lcKAQHbkj2iLVxfg+NbqA6bPRDz9TqTbpftz7cf8ALVFl+I5gjuJWoyOF7fy5lV7a54H9ddp8R7iPNjKwKIgsoF7sAzHEggctX9NHqYB0y8bi1UsylQOSxHsOdJx1qBiAJFJJqvezqsr8S7icKsk5dWSRmX0wnaWEaDwLFpJz75fTS/a7weUK36qKhCE0Rk7HPwTin9Mh9tCOpRpadnoQW/GuaHvf7aru038rSKuZq+eB48/TToufrq6lZFxoUjrMv87fudZ/jEv87fvoQqv1P7f99Zx/4dWs5NzC/wDFpf52/fWv8Wl/nb9zobiuP+f/AE10v/nGsbcyf/Fpf9I37nWz1OX/AEjfudCmRR7/APDWerfgX/XWBuYT/icv+kb9zrP8Sl/nb9zodSx9q116TfXQNuZOOpy/6Rv31v8AxOX/AEjfvqD0T9dbCH/81jbmFL1J/d3/AHB/trn/ABGX/St/5/XUSbNjqZNl9ToWbczX+JS/6Q66/wATk/0jf21MuyX3BOpY9jfhf7aXcg3IGHUpf52/tqVeoyV8zX/TR8XS74ofsf8AkNF/4RiOSv6ENf8A/m9K5odKQqG6lPuf7f8ATU8Jmb83/D/pouRlS+5bAugoJr9DrJurqg7nUeDQHJ8kcKLPANaR6hVRkztNlLV+p/Sv+uu1Wvmka/YAeT9PGg//AHRAcR3MSRQC1ZNFQcyBz/T76HHV2MsiRgPHVEhEUEEmlXnnLIfN4rnybm5t8HRHS/cNttOr+7eavG7P0HP20t/EaV/TicLGSQ7ISS1A0ADybH19h4vRkvWpMBjzcYAPBCkAksFwojIY+/t7aE3PxNIIo4y6lpFAD+qis1i+OKDVXND5hXPhHKy+xIUdW6bIioDChdaIYXkRdnJb5u+fP9tAnee8qqMSOwg/JzlRsEefYef00/XdbgyZCTGRSkOJlyUue7vNAKxQBuKsMCK4Jd7D4fIUJKIzEQ5apHMgcmzUhrsoV/XSbmHakUs9eLRx4JGtKcxTcEWbsLXP09qPOlHWt9k1dpPd8pU+T/qk/wB6Or31b4eSIB4ZsXxJQZVkByeSe+rFj76qm7k3BYmTI/UqiK3HsH9OxRH/AB0N1A22HfD3T/w4lkQglXsGPnFiyj/678SDjKh71oqbftXGQDoS1xuoIIVgLvEG5Tx5NN/KdJl69HGKeOZyBeRxkOYYPTWAw7lWjZrjwBrn+Niz7KGMKqowZDiZD+UnGqjThRY4s9wGlu8jJVgAnGUrGvLwpffQFtM3I7R/lj9xf0I+9fOaSiOFjTkt+eVSeBxeCNR/760z2wsEfiSsSM7FIqJfGIv1GofY+44gi2hTtlWVWMgNNkpIVHAsMBwfUP619tOZk3VpVaR7I7YXA5aspSIBwv8A/b5131GdRLFZ7Yg0h7iP8pTILrzyv6aWbeQh8KIzkiA7jfaS1Ae9uEFasG0+At+8kn4TIGTENJIighpELcAlvkBHIHn9sZindxD09vBdZGND3H3oHn5j58+db3u7B27MpJ9aRmWjZPqOSoF/YgAf0Grts/8A0vdWWSWdc1s3ZCiwRWOIJAvyHF17al3PwPAkSh9zMqqAp/hYyrEWBWRzmr64sOLvTInZTQrRh1c90ccafOG+WMMxPupzZuDXgag6Oe2O3J4kkILggZsIl49uImP+8dXuH4K6TtCCYTZB5llkYEe9jLH+2nW2i2rRlYEiAWl/CRBiV5xscgi/H31qNZ5t1HdyxJmgdfqy5ChX8w8A1rafFe6of/HPIv8AypOR9dWmLqe4V8GCOxDUzHt7Sq8sq9oJewCLpGJ8Xo+DrsxsGACjVidMTwDYyo1zXIHIOqZ7Mk6fYrQQV7frraD6G9No9ov0r+mpl23+rx9a107jzRONqT7H99SfwJ+n76Zkr9f212P00NwBbHsP/K1Muy/8rRwiv8xGpPTUef7/APc6G4NC70K12Nmx8D99MA4Hj+2tGcD/AL624NAqdNPvWpl2QHvrZ3A+v7DWhuSTwvH1P/TQsOCRNsPf/wA+mpPSXXHqhjV1XJUcfUDzzXB/bUsZA0ljGomU8BTwffRMUxU8Af11rbRlrth54oHx/wBdMdp0cH8xqz7f1vStlYxb4AN51JwjNkRSk8ceBf2+n11Xd98VIAxRizGscqAJ4sgfMfNfqPvzY/i7py/w2I/nQtzziDzx7nmxfuBqjHpLKmDyI8lIzY2AqsoJcXf5QBX0x45NRlPODu0tGNXIi3HUZJGBDHLAjj2UAkg15N354HnU0m4yA9OIytHTSIfAUBD2kn2Yn7gHz41xt9iwZC1sFyzVrLKoJS29zYxb2r9edA9b6qPT9NFDEf5jAWKPgAkVwoy/ViB7abS097t8Lkrq6iglGKy+Bu9vI8e277QqWN4pxkTTElT2lQB51Jt+ott1WqHpgBmkNhghAON3QyrgAVR+1J+lbv0FpoFFtTKXtWS6Vr/LICx55uvqNM32LAZmUIj0CrPdLYtMFFg4k3S/YnSyneFwNGGblyWBJi7gzuIs1KNx4s8eeDYy82RXkaA+It3DEsTRiKR45UlpiK5UhEq8rqieOOONB7qHBg24f1UclVMYGRZQxTOMXQAUm65HkeRrvq/RYVRV26uVWNuOW7gitWQ/lZxkPfyfB0kngLirqw7oHWQcJvSFygk93B9P1LaNWNfmxs1yovTodXikhkdnEhvBVCmwWtVIWuQzWQxFfpzrzxNvPFucZSqQnPC5F9MlUVXAdgvulkcAYjzwdPU6Tutqcty6SpKAkeMb130wX8MYggISC3F0L0sXboVpVZdd103bNkWxOBGTOeA2NA2eMq8j78+dRbTpykI6qrKQC3cCwLXlRHvyPFDg6856A8IkMMhLKwUj1PZiMglnzVceaP8ATV66Jto0nQKwB5NBvYX9+RZ8aarQltCL4j6QnLRgurMRiEKspBORNDkXzf0x/XVe3XTJArExlsPygH1PNAVVjm7B+l/S/VfiPZJLEuURmCMJAqsAS6kY8/Xmx7duhN/08SUscBUqxt+0Hniw93Xk/wBRxpZKsjrJ5DuZWdGADq5awe0eLHJvz8v99GtuDKg9WMFlrJ+TkzEAeAcB54HkD60NXLr3wdizEeo/vmqgUPuAbc/UgA6UD4aVwKkWzVUwNEGzYqwKBN1rOUkakKR1ASbpIpNtIgy9NXKtIlMTVA2RZoHjj9ORdfQ28s0SbZdxAWdTnC0ixUp9RkZcgqsfB7SeaOq1telHNXTck+m/ivcc8XxX3+/jTX4Y3A2USoxWZxLI7yF1B7gAFv6AVx/q6MWJK2WqbpMwkdk9Nkw7FYMXLBfDNkKBP2Ogx1TcRtT7L8ygGOQH5uLplFAHzzrW6+PUWPIgJxdZqeAa/Kftx4/XVa6r8ZTfwzzq0Yj8gE2zEyIlYKbQGye7kBW8jnVExKLfu+vRqAJc4siVyZLCnBnuwSAAqk8/TS/dpuVkpFSRSwonKPisibOV8fQeSB9aR/BPxIN5OqyQsPVuiguH8MFqYs1hyCfAqgBr1E6zb7BVd0UaPcTlmB28hxCm0dGQk5DEFipJGPPHuNO4vhrNQzyzIxAJVWUBftQHtpyYV44HB+mqr1j4tmg3EkbCJFBHpl+WdCikvw4oZ5rRH5b99NbaE25YjMwP5v2Ouowfqf3/AO+u02g+p1J6Z9gdXPKo3HCPcgakX0x5cGz9H4/YajG1vz/x1PHtvYDn99axkSwrB25P5v2YHjz7ke49tbk9JOfTXEmhkXs/fyNRQuAa9Mv/AL1f8tE76JJACY1Rqq1bnjxfHOptlVlYOoeowgikBI/1aH6nuPGgNwXkPexq+F9h+wA1NBGFUDk0PNCz9zXF66L631M8qmDLAB7f21jCh513/Fgsy5C1xse4y+X99Y0YJB54v9KPm/2/to2I0RKx/XUsTtfGpodoxIuh3G+DyOaH6+D/AEOiIZFjVhYaRb4vnwXAr2OP20rkkVhoykF7PasR3MaYciz4+p+2hd78WGIyn02kCggYcm0ieZrHAFhQAbqyB71qp/EPxDLnIUfAY4cA5BopmHHI7csrNj8gvuF8R9ZznWdQzYRkypQVSPx0XFiQrGnRTZ4pOdRc7PRhoqKHsfV1LSrMyhHACE85PWJGC8gZKDRqy3Gqxv8AbAOsmK04xLBu4lA0TBlN5JSrV2T47SNID1OJZVaN5W26SgiF4lcoFPcUnkk9UOcWa+AMjxWh9x1hpS04UpGTimTH1aByJIHaoLm/N8WBxpNrb5LRlFYLT8M7YEzSRljLOJFdWshsgXUeT3DwScapq86i6dINwJVJCYSxoKFM7G+wBe7tUk3XGZrxpZ6LwDEgUwHg8AMHBkkH53ZgW8BRwKqxqTpu33ErSKWyzEZDiyplVGcs4uwAGBBHHK8k86Ltu2Uwlxz+CN+mZVzShsVy7i3qfnI8AcAggm/W+miR0thHEyP6kfqiORcLbKQBVPiqBDZck2fA131/4Y3EEIznhYjwkUb5KwQ4qH4NdoX6DLwebTwTNGDHGzAsGaQnub2fxxXK2PJ81lofVFJxiq2yvzhjBOsSRoY3i5YoQceAoNI2dcEEk+3zkX5OmfR+vOIyodGzGbBRYyZWUlSo8UIi3dxbV5pVPT0YKTkVRWNCzi8ZAkb/AFfOKlQODlRuiO9rLE7qjYkAWvLKvFLQxOI7R4rjitK5pEmk78B8vTzv4kaay0Em4Y80DE0ocAYijz2L55H30/2iRwNBtm9IIUPOUvrGY40Q9GPEkntAr9KrSDp3UYlcAxRrCqkExRWrElZArY/5ZBAIY2DyTV6n6pIWYNI8SsncFBQhhHk1lzRRfAzF0L+h0YZW6/sTks0l9y2QfD01IwjVQoqWNmuQMaYEMrY0FNEff7DVe3fTt4cQFMbqMWPaQWCg5AZd0ZPA8HtP1BOT/GssPqHbSoxd8mz7rxiwBX/WIiXiwOH9/MvwR8fHc22+VQzv6alExVQFRwWtr7vU8/Sv11RxQm9qrOOn9N3+3libONkYrmMzlRVQz8ikxYZBRd0eedHx7o7zcSLUsEoRlSVouMVYgMrFaosVOJHP3AOrtuNtHRBFcUD/AGFfeyK1VOh9K/gIu9jIzNEAjOcY1oGUqCaCqWIsV4Ue3Kbc4KKSabfImmnaHcXOyzN6YQrCmKqWOLE/ijvOZqvlBHmtNukRxfg4rIkjumJkIza1f1CwBrwhb/f+ngWfouzO9km/jJYzEQf83sVitt3EH8pUVY8nydQ9c+KfRlRoQrKA5DjEh2urZlGYYAlOasH6WdIlV7mByvgYfE/pbeAGeQRZmlwUEMWNkBOCW9z+hOvK54c5bjlJFcXaknx4uh7f99WCTrn8SdrBk0ywmNRGzqDI6Kq5B2qiSDyTzlqvQdOka5YxG699wMSSUzeuCKxCEe55vjQw+APJYI+noI1tiWAo0gAseADZ/c6FPREYkEsC30Pn9vHJ86D3/VnYG6X/AGCCAAOPH09h9tQ9I6s0YExlBGJAUk52bNkVXHH99LkGCwxbGbaRyRQP6Ydy7c4vdKpAf8opKsUeTR0w+Bet7oNHJJuHeF1ZysickAcAOSAGY40Ca83WlMXxGJIWBW2YKquG8FjjyPJq7ONa5XfPCtxvWC9qnjwOAftwBzxprBSZ630br/8AEyNgn4a5DO1YFlYqQCprmuP0OmkuyRzbIrH6lQT/AH14x0z4xZFSJZ3GCgVdWAPm+/1/rpjuf/ULfIcYsZFr5nxu/fyQf7adaqF2lkRTrpiF8n+mhdl8RPLGrxKqK6gjsphfsfuPGsWE+WOuqzymicbxfZcv1/7aPfqbkARqsX1Nc/0FV+96XgAeK1HHugzOlm0xvg13CwR9R5H9DofUaLaNb53RbQeo+a3ZrtLDM8e+N0PrWpX3IAJ8Ackn2A8knWpGABJPABJ/QcnWlcMvFMGH1sEH/iNYxqfdYLk142Lr2sgWfsLsn6aW9d3xwVUPD3bh1AVQVWTk+4RmPj8uiN1ljHgbT1Aj13ELRQ1Rvtar9xX20N0rpJdcZSykGUEAgq4kAbMEDsIcmrAPHjkaVyLQh3DpOkmRTzTHEZAUaDA0f6X++nKdMUowdqUjGxZ5bt8VzydAdT352sMbUCPWhjZmulRnCsx+vHv7XftqrDrU8kMzQRBwjrgLLd08gmBBschlUCyB3i6qyjkdGnoXyHzT7hY5TGVcxbqoiXoFXhCcjkkLLIbBB8E/TUHTmlUuoYTToWd3LIcCoVAoQlSB6c5b/dFnmtRdOjlj2k8U/YryRIkfBYAiM5JjRYeLAPs3gjQHT94E3jCZgkKqCeQSzSbeNCcBeBpx5+vAvwp11SYftFkaRYSYyFk3GS2rXHKySqxIFEF45VoeAV+41Nuumw7dM2IgEkckHaQDi5APaSo7WGV88XojbfG8EUasE/GCJE9lRkkbNh3FgoJyJAJABaiR5K7fdH/i/UZD6hYGVVZpBaSDJSikFEJwuuO6x7HQajy1kyTbKn1CKSCVl/h2oeFLoRQGRc+ymvr48+DoAdXcl5fSjdTlIVMoDKgUMBRWyMSAKuyrV4Oj9wsksrq1qVFsK/OmBwVUB7balJBAo34vXG8gWR2yXOmxkBAuwo5LDi2YO3B+nFadSN0reCfpOxkzUzGJU4kdvUJHpu1NZw7GUd3PsQfY6ZpvdsriTbGRGVwsIc2tFsG7o7BHpgAZcg2OPGk525uEkWFvsAt+blbGNVrEl2pauybJFASbaaL8FZS4RRHGpyHaMlXL5eALYVzdqdK7aG09unJOQDud80m9BcBzmFoEFGsgAWSBiTQs1X9NN/SC+ukZV2OdJahiloF+WiT3MR7UAOa0qnhj20skkczPJtnZ0VomCu0UmPnwyhuDj99Ptr/6rPNtJVmgHqlGUYFgCxzU8UcSKFcm78jSw05JHV631UNWacPAJ/iMUm4U4EFlUZDIIWMjqvN2qqfAHFA83pLueqNj2k0z/h2gyGLANkxBL2jEAgg2DfNab7DYRNGHMuSh6sIwuvSLAdh7yXontN1wfebZ9MO6MKw4k5YRiRbCssPrHkLweLGRN3fHJ0O+TiK/N1YF5vxWxKgqrKaaTnziK7QBVg3fnjR3SN8Wj9SzmTjS2EFHuQgKeDHjYBPzACrJFzb4J2W0hD7vbszmJmOEsgJdcbQKZAuRJ9uONdSfBKTuDt849qSEApi6MpcyMQ1mmyAsHjEfpp6VUjRk07fAjWOFAuSMQRiWsFWXJCuSNQADSsxa+Bfmq0z6K6lZY5EU2E/GxXIMFMjkgg+a9MccYgcedLd506dGo16eMiqO0jtYQIWNUmagNdcWASC2m3UumJHtTLHTeiuGamRVLg3eD2ZKNuWBtjzQA0sU+Cs3GsZHvwt1YOJBJK1wenSuxA4SOQ815BKobHmMn3J0l631R0SMNIw3A255BZ6xaR3a8QMHCgZGuCboA6D2MsX4PcI1jnWR3JUjEUkUbOxBWMBODYs2fc6L6z0KVix4CCFRnlG2WaIHk/8A5CAhYfdv66z4onyyq7naGS4lQBpvT5DCyy2oUm/Jri+fb31AkjplEtPk/hCwINefHsLF8Hz9tWmHaFuobSJz6bTGRo1QFXjj9OULYPK2ic/cEe2g22rKQ6PEyhmZh5dI8QaFLQLWzMTbfKCOdIos21CjZdPUZSq3KNZWqxAkeiT+a8bGPi+dHRbVGWMqXJl8L8pXH8M5kfdCPHkH66j6RvjHCzo8YWRochJ8+JYOVC0aQmyTx+hvTPf9WikneTcOkMjoCgZ6C2BVUBlS+3Fk6bamgJ1yJtz0VQ+WLBak5BDHJVJAoXQ+Uk14NDm6StgxBCYHFQ1tkPUru4Hy2bNNzyPGnu3M00jpEnrDkMQoZSCMvJ4YnzV2a8EaGUyRMXl283IKC4S0Q59saxNjmvp+wg8ZRpU+CpQ9SIla3IX2H3J+/ihr0Dp8oGwkidFZpSjBjIRQA4BFUTTH3I7h9NVH/wBoktykZB9/UcH9KP8A1026rIR3t2UVFA5DiiTZN3QBrxwBrTkuYiJMhfYytkyJGyJ5F2QKFCuP/PbXWy2HU5wz7fZsY8iAQkZFjg0ZBZH6Ei7970J0lX9WUqWIe6LEg0fHvxxr2D4f6nHBtoo1kelUfQ19R41ya+u9FWo2V0nK/a6NQQBRSih9tc73demmdFgGXKvIUkKW/wB28j9gda6XI/op6wqXEZ1RGQ8kH6e/jRLNftr1rPF7mWNRk91+5Fft/wDupEgvzoiPaj2s/wDD9tKFIWbsuXjTEtHKWSQgWEtGZSa/KcSv6sv1002HRvTRVzJCqFFkk0BQsnm69yb0SNuv0Gku628pn3aAyAPt0eJsSYwxLK6eMbOK8E8Bj4uyC8YqsnUfQD6LWfxfUjLMPMgidVV7AAzaJQW482PAFWKRo0jaQmlUFjwfAFnirJr2A1WJN8Y22UskqLhC38SGfHj0siQnuSyXj7BSR41V+ufHDPI0sJlSCTbKzWFrFlHgWGDh3C2GI5aufCnVGLYy+Netod2kaXxE6A5j0z6iKUYAeTmyfMPC2OL0n+DviFFkWJw0pzPqYl1yxvFaJCZAgAZEGkJu24T9Xm9ZtqfT9IvtWQAsFcTJlHFkZAClMqFSWr2Hitbn6NI8O5waNDDIHY5sZCuHpSsGUlsFZSW8iyTdVal6pUGbrrrb2KYsoilR45qYFhUivEqKx/IAUJJyBZbx5ICHedRkWZg7ktjeQILepTFOCKK5gMaAsi7vnUhT0jMzELUDiP1Q47ezFY6Fepmh+QkVldUdddZRo5FvuCfNkSRLEFr1fxK8hfHHlqsFSRT3WuBk0o/Mzbz1HIwjtlVc1VWR1LteAAr8MuxITg8VZ1YOn/EboSVeRSpCo4BNxmTJqWrdQ1D/AHQKpq1UJdw4zU4liM3BQePw3plbsKqysQKK8tiFB5Z9PkJDSPkWwc3HRN4t6eZemkfIljbse7trwC8BXuwWDrPSz/Hum22ob1GJZ1rLFir5AepWGZyPtf01L8L/AA+snqmWRgYPRzCkBs8EtjSmzbNyTZKkke+q6vW5YgQrGP0oiqqDUoDDJFIFAMvoqSVskHg2ObbD1fdepP8Aw6tNCLLUCxkIABKNd3jkL92APubMavIs/asB3XtjAJlhykWX0gy4oXdTK6xZX8qq2A8/Q+5APkvU5n9QKiyFVN0DTWhAJy57sqN+3HA516b8X9PlZ4p1FsFGaLVn0Czx2GUH5mDFfluMc3zqqfF3w9LuI7hVXG3GUvdyWkPzKoNdqim4BpAea4MX2FnwmKJeiuV9T8QXC7HvuR2CNK134BKmx54PGhtk3B9RJBkKIWrC2AGGRrI4P5+/sdQs+7iQxpNlEwaMsh/DoqS4tlDBcWJJqq9+Nc9I+JHhVYmClAaBxBZRbMKNiwGkc8/zn24074JxlUrGPTN086MqcHKBVDX6ad5BZ2IpVOCWzWTVEnwbF8N/EkcE0Qdcyh9QyKWpWZBC0oWPiUsGK4jwEFZG9Vb4f6gzMIZZWSIuC6gnE4AlSQBbKDdj73550w6P1l52ZSMUaNsmIY0a7Bjl3U35j8wNHk8o1WSikpYZ7Xvkg3xUeorNt5gOLwMnBMZPIY9oteSOLA0D0zrboJLhDom5SIPTMXZ2HeAOKOZxcCj22RyR5p03dBZ7iZizOxshAnrrI8tCzQDAIC8bCgvuLOitv8Qgu5bAhJ/VUSAAGcJ8pPCRuokrkVYNCxwg+3sy8ybs/wAdCcysSybhGOR5czLuMaAo8Ko8jHE/prnqI28kqQo7VMrSsJCTSxth2gg9xYEUK4LEcAjVTj3AZMXixkO3LmRhciupjODWAz4DgVxcrXRFnmHf97bpQ0W4jkqKgCJAMm9Jq4h7COOB+JRBsHTKnyJtayh3/wCnkG2bayvuWS5JJSVJqMRx/hkUTTiwxyq6Kg+Bq/8ATo4/4YCB8kC9pBLUCMgODY4I4sHnXms3WjJstjCXSJZUHqNlGHMzcucSKHcxoe5YkihqxfC8kxhlWKmhfPBmKmgYkSIqq45IMKIyWyW54Fo6WQ7Wyv8Aw503cPM27khIsSCIvMQ+BXLMee3uKnwafi71Inw4rg1IYpppWjWMsuILLnI6j8i/mx4N+RZ1YW+G551haaOFJAHWQWGRFLGii4m3KKoyJtQ8lHnS3qHRpEG32rwxS7eFo7L2fWW7d3HPNjIgAksa8aW48Io3KTtiLc/BaySkLNDHIqk/w54d8LS1Jk7eFs9oAsDjSjqm1WSWRD8ykdp+pNcMPp4u64OrbL13c7qKPe9Pizji3EpxoKX/AA2jFlmAESg0eLtAa1fJkh3O19aVBXpljwMlxBsBhdEG/BrTtWQPGJNq0FvG4j9PuFOMhgMSavuNg+x4OrB0vf7ncuI19KVQKYOny2Ls0PPvq19K+HpYURpVWRCciMjSZ9xLLib5PLDwNFQ/DEaGOYIcgxPabA5Iv61Q8eNLWDWU5Pg3cAlWRHW/mBpq/Q/8NI5unIGCgkOxVxmeCoAKsB7CqHj7eeNeo9S2ySxyCJ2DtS9rV5IBPJo0CTQ+/vrzv462bOzvH2x2YgxvjABvp4yFUDyV+ulkqyg3YQ3w6VQOSoJFgCgCPY3oKuBbYmjwWA8Ej6/bQnRdg27VL9VSkeC3mvcS1sGUUQt/Kf5vfU8G43aAqXmSiaUJlQ9ucPNckfUnWjHuxWy7xrfvotEGounSRyIrobUj+o+xBFqw9wRY0eq66jzVExFH01J48D9tYkZPgaG6l1yLbNGJQfxA2JAGNgEhTzdsQFAANlgPOg2WhCwnpm4WeMSRsCrfuCPII9iPcaS/FnxG+xlyOPpeiS1qeHshDfgFmsAEc4HXnI61uWimEUvpIkonC5qApkJVKYfmWSMkjJQbJxrgMOufHj7mLcwsuJkYekUCkqpssr3w3KHkEkgiglHSnStOngtE/WP4np0e4OIV45Y5RJ2lpPSeMqAKY5M1nBhwOPrqizdMUtIFiEeGA5kyRVLUTZI9SlQ8fa/5dG9N6IN9t9r6EhCQrHFuVBTlpHhSQhhIXBJjDC1AJFjydKd06ruwuBxIdVBIEhAciNyrAYhuSMi3aSe0aDLQRN6yLDYhI9QzANgDX4kRjay1FrhIvK1s91+ROnTOF3Kq8io0SgyKeQGdXUSW2TENaUvnNya51Pu0YbHb4yBkZ3skxri4YkgizZBfiifJ4B4A/Stm8hkVZACkLOyNGzKcGph6a+eVUlqsWPvrZHwa3ziRIrxB7VHy+ljGQoUHEEAZMSfb1D55Jmh6wyblBgSPrO7KqH0wgQuoPaCCABfmuSSddb/ZlEeLBFKOrj0x/wDWUX1BRkoMAhBFZEp48krpRuSZJJldY7OQU1wiswvPIg4qAAR+UD20Ld2Ua0nBJWpd+KGcMBuOb0w0MilSWVm+VSuWR7+aRgQRfF8HRHSd2rko4haQoo9TJUIPqWxvlWtBeSjgWeRyLFtN/tNntA0SYyTQxsAJlZw8q0rhOUDUoIGJXtFAmxrXWPjliZikZWMxhS2N26uyOoeNWxVlFgMwu1o8nWrIq1JOKTK4+3e3AjIU5r+ICqlkGPyADGigWyD4I8HXEXUkjhkWeCyNr2DAtiGkxtQw7ARl8vA4Nn2Ih2bJJt4payWX/MDLIBFIFoBWUqQFZsiR7P4+YiT7g+pMIZGZs5IhaKHkxYAH1CpByLIbsGgSTXI1UC2y7xdflXa9NRVBEtK2WOLKyFUUkng2yrR5sE1xRqm46cYS6cySyAxkyEMsbqWjdlQjFgzE2GuwSOL0p6VuiYDODNEqPCqkG+/H8QBjygMbDEe4I57dEx/FEczi/VzVTleI7r7iWY8sSf11rafA+np6coyt57X9RH1xGiB26kGOw+Vd5JjVD3Xyhx8H/mdL5OhN6ayIcuxnIPBAUgUP5idWLqO6gaQfhu7VQCyKW4HjEG7r20u6h1BcYgiSQ40y+orU4ZxRBAsVywI84kea0252sA6WlGErkm6xV+V8kuLAtpHJECSKc5RkG/VAIXjHyAbC/XytVemLdAwPe5VaKnBTJnJTMyKIzynbRs/cjyAX0dY0/ElUM0cX8QCpag9s8YYmmoKihV7gTKCb1F0vp4EDZFzKpe4ngLRECPOjIBauwDdysCo/2jqsIbld0c+EGxQrMaLvG0W3iLESIrM8liRaoYIGIWj47vOeuoNs38SYM09ISJeKogWjkKo1ZwNsxqr5Hvrp27XcFHKj1I7YMWelDEooruMpsHlQrEvyTiDqPcbKNymRRoI4EEg4zVmV5FDMnEpLqWsZCl8CzqL9rpleVyMZdxGjHECVg57ZEqFcFDsOSAjdqmyT4JBGdaD2O8YRRembCxZhhEvJ5dlAFFwrOIihIBxY15szb9Qgk3ZfKPCI+XQoZC4K0UN2gVSCCK5UWND9I6QZ0Kx3NI7I0K2vyCXkEo1KQgZitH5iaOlk03gdXQz6ZvWEjMXVUVAqHEFnjlaNsB8wUM4KWWIpwFC0tMPhn4wO23EUcuCxSs4BXhc2Kngex9RmLCq7gQfYC73fGANGkapHSeoHGYtXZ40IZqEkbVz3Z2ee3gT4T3PpujzK7LKBEHW0LNMqMFLMe6OwCGFLbiguR0jTayG0uD29Tf8AYgiufeiD7f359tB9agDRE/mUWv8AtAeP0OlvRPiSKRJDkqrG+J7gQpoHEtVZDIce11qbdbwSA04FqwFYkgkcEWcSb55se2p221HgXbWRbsN3hE0ccaLlkz+QCSS7kAA93k+9k6S/CG+jR5toJA8BkZX/ABgXLnAuFFBsBVcAeTdtZ1ZUgUng0R4Ni7B4PbwOKPtzfA086ZMDwwXP60Lb78Dzqrl7tpNxxaCqBOPfX2JH9wb0snWHblmkZQCPB5ckHkgDmrr7abhDndflofuSf34/bUG92UUwHqKHC8j6j9ua48e9aoiB53u4USb+I2O6RQKMkchJbAfNQbuurq/H1rjSqPqLSQ7aJlWMHcqWOTAvTF2yIII+bz9SPNVq3dS9TcsySQhFmlSONDRkMYKtMxYNS2ikYjwRySTQq3UPh/19zOEIRIbxGTcsfmGd3+554GjJJDcD2FUBZlZ+LBjDHG+OQPJ/XzqbbzKgqpASbORBN0BfcCa4+uqj09WglH8RFGVJ4RlJk+xF8f1P769A2nW45EDKhrx3LRH2o+36caigsrnwbs5NrB6e5xzytcPBUi6P+sCSL9wE+lCyv1CJGRXaNDJeORonEW1Enkgc1rieIBHJOChGJayMRjy3H0HPGvIOtDdTGGCamm9NaEgPcU9R7YjtAeInigzBUu2GWrWQjHdlnpnwj1d2aTbbl19eOR1UWgkZAA3KrwWCspLAKCGHHk6i+Ofh4b7bB4GDSxMyoyEGiWCv491dBx5FEfpR4opW3G1DuwmQKFkIdZGjCEohSvqmHqVmQwJvGw56Z1CeCPqZBeM5LJDI6ktIxObFldflAGLGr/ENHhdLyX2UxV8H9CbdQOE7GBMcgMalSRTK6vVKeczYU2f3g690k7GSNfSrOgpD5CTCu/EilOUl3xWRBFeWew6h/wDMEm1SWCHdgdkbQ90lDuGRaNCS4v3o+xGrf8Z7JDshJPHCDEysBNJcYs4kMa7zR4XmyBoNsssStnnPRJ22zJJIrdkzJIWLUVEazKuApSp4+Y33EixxpR1rrLjf/wARtPSsMPTK92NY2imgrLk5UVVhq8jje9ZhFCaCh1fAIgvjH1Bxxw6VweKAF0dQwSAieSO2WMxu4NgW6uj1VEKSQf8Ac5JuzXSklLLF1I2rRZf/AH9DMjmXaNK6jwcSqSc0SxFiiL8A8aQbbbGOgsoWV4+1ispkkWYiPFirCjZ8gHnKzxRabtpd105ZmjJxxUSKVdTjaySvGyAqw9Pgo3/2fbVegQYP6gyURlaq6YKQOQT3gOwUnhCycEeNPzd/ahk49o15yG9Mkl3249MLk5QKcvTUIEVwfPlu5TyC5IaiPIY/D00kdpJ2w7gyRzJKwC3iaYsB2kspQPXcGA5oaS7TeTYtEQY45Emb0+LsrmXf8xNIFDMPrQBGmMe2PpxMxyDZDLtyzZ3aig5x7gB+w540q1OllK7waEY60+m3WLRv4hatwY4wewCNFjjcsqwMwVASC1jIAvVMReXnQTThMY42uNlaYhAAkcmDSAhSuXEUSNiWpiL50b0/qypT2qtKcBI4yIAIckH5s8VoEc2eOaGgmWVxB6MiqXTEqeIwYyUNccqAxYkmwD9uZrU6mao6NX0/Rltu+CXpPWZpAWUGhIGEhZiVkxVFHqVR5NhOOGa7A0d02MSTxxjsjENn8qo07j12Wl+XE2Aa+QAeToKXaEqVVZvSaRmmLtGLKA2+EfFE8fmHA96Ot7Do77gSCeT0pVaKJlkZKlICVbGQPl4PGVVQ9gHOd+CTYbgAwhS3pybhm+aQ20bB4xjHLiHRQBnQ+axeJpluOrvvPTjhUeskoRHdIhA4ckAP+Fziii+R70DYGlGxiYNGHchY2ZfwzgSHvLvC/Me6uD4486m2O0yaSOGMlwySxrZ4UBLYUQGYAtQN3R+oBXcrBXYN33Xpdn1Hcpt5FitlNRpG6onzCiynBAW8AAgVxwNJOt9Xn3UUrbm5ZY8ULYItXkS+IUE0FGNVxISfbVp2QU7ZZJXXlHd+xBJ+EBEM2r5RjZ9yQBdAgon2iTAO1hxMY5Fyq4wFkaiF7QxLCyGINe1AM5WwUksgvUemyRbYxtzLKNrDTkKY8F9Vh/LiAIxZJqybHI0rXdusKGGNkANsA34bkRC3NENZBLWKxyI1aN1vEidJYzGDA00wEsh4Mjmo0BFMDQJ9z9rJMXoXDHuJAAWdSFE/nJbUhEy7ivBDRilAFAAHRWpSrkZaSk8OgNyPXphLTkYshfwGQBqFgByvcaJBfkDxqTZNkc41xKRusORRYS4CsxK13O6S9vPdlyQAaI3WzcyMqp6iSqfUIIWJm9SSaNcwSA1xs5rzQXjUXUFhl2+3jhiWP1WlEchY5mSywJJAbFnYIvH1JHA0n0Gkq5AN7B+AoTFTIkSMfUpywzUtwQMTfOYPBADDnTCXdbhDEBGyXAYoVW8ikg9QOsii7dVL2eFsk1ydQdX63EHbJpFxUIuC42uJBTFlFgNZz8kSt9gOoIWO0k3FlfxlXbvkFQ2zK7EHiNAPF0MjQ8UTVIXdk3t+oBIWamUtt0Xljkxp4jNyCoLFyo59ru+NCSy5Sxicfw4lQJKQrHONVC5FeGQAooryLJsg8u5tiU2areZdIzEqD55ecXZwcmGZL+StmgdLv8UkdJ4z2MZIliydmQuJD6jmRgclGPuaA4o+SYuOb5DJSxXBGxdFn9aRwkR9IxjFsmyDRgUbZVWJO4qvIIu7Gpd/t44IY5Wj9SOTxIAo57rXAtlxg1miPvzrhoPUaQr5WLl4kEls5CAoQQzW5JL1kC58itQy9HMbQwg+pkiyO8RMhHBYKAEtfF1RJsXYFaCnQHDwBbXfpGcpVyUk0F80eQPmHjgWPOnXwt8RGLfJOqtguRCP9CMCPqCVLc88/bQP+FiRWlET4RyBBWbFLBP3YgUASf5hyNDDaqsyotBucqa8SF4BvwwyYEexBGi2qErsfTfS+px7mJZYmtT+4Pup+hGtwbZyX9QKcnJqie0cKLNflHivJOvAOm7t0fFZCtWD3NjbDHKgw5A5B/1R9NWzp3V23G7jdJHwSWFMbfxHgGsH5rALE1zzpHKuxuna5PTetQRLE0rop9FCUscKcaFfT2Gqr/hDxbGN82QumbkBSyO/cO1gQVNhGxrwD9dC9Z6285lh9LON5UW4wWkQEnJHA5BwFiv5T9Rdln6ltZUKt6qjxRTcJ54o9oNf20yyJOLhhlO3W68pKoDWCGUDG65u2Wr48H3++tRb7dRdqKuPse7kfXtPP66F+INzHFKsSMZUdQFc9pX7MaAJHjI/8tKTunHasppePav6GjY0lO6oB62rfcD299Vv4w6RCu3l3IVRJFHkhZmC5qxZBQ5ouxFDzlXvqly/EsW96Z6M83pbiJ0aJ/z5R9wZO4U2Ni7FEjVm+GviGDf7dtqWlDlCozI9RggAZ1mW1fyPPdyby86q1QsY9ysdQ6usmyj3DyF5nkaKY3RijUhqUoiubV14BJqV696sfxHvS/Snkf09wTGhT+HZlYIzYCUA3mVZgcSKJBBPnVN658NS7OHbKMXfbOZixjYM4Vg2fki1sRkeWAjv5BpEerzxqgil5x4jXFs3ZgPS9JfJBkN3fdmfmAGlLUmsYCtruXh2wdTLFJHuWbMoCpBUFWxdLEhMagNdc0QfOt734rn3SIHkeQlmjVOxh+IAotQoDseApNVya50u2CMVnjd7jaONnf1e0MrkgOWZQ95UQtmyAKJNcSdQIjk8oQzeVAUOSoBx8tIoGRZicS9+eW3yH4yND1hfTjSRRGVUoFAdmWaR5iWsyHO1KFgSaZiKXSnZloVnjdqXCwCynmw5agTZxSiRda52chZHU9tIG8HJgXTEkgc4kLRAF2ODqCWMRt+I62B8rEEsbalJDWoIC9x/n+lnW5wZvaO9vstxtw7ruhijBVgWSRlZ5EyCYJxkAWYkCrQ8g6wo7ONuu1EjHcSn1ZAyI8zWKrOqqqtsr8UTRAbpJ9XEhvQLkhowzAxqrFscmGQal5L2tHxfMkm43MqxL6zn1y0qxBSB6iWbDUAFGPzZEjEE8c6eDi1kzUrwPdj8HbhZA8sbYwIy9jI2ScoLUG/lJY/ZEAo+COpbRBIMExjIYYh8TCgkYWqlgRK5VlBsUFckkXpDD8V70EbV3c5Ni0ciq11+VieWQ+9tiQbNjQe4Mn4biIDGNV8XgFpmHaAaxYWPNNR50jafH5K1tfKb+RPLB686TFmb8UOAFohVVZJZZFWwi8pZVgRZON8Drd74Q+lFgWEEryAKoJSK8vJskG7YeL4J41NN0aXaSiJzHOkzgFQfxWQnGN8Caj7gD818LdUNCpHgscqxZwh5jlRyCjyshUWB4IDL7L48aFrsIrvOL8h2x2KSQTMv4ipKFU5CsVKyKqu1sGtnFsoVru78a2W5SKYhkctRkjGZUhzTQoyk2QlkEAg8tZPFD7Hp7vFxGkULqGEhoqzB2Z29RawVIlZcG8ZDwXGoOp7ZiJWZRapHJzioxkJKlRnTiqrHPx71esZulQVudqZNqkyEByzh1BW7XHtrhsx3GqquebLMJC8iGMo2MhXgliCB5yBAsEEMOL8gjRGz6o0W1FMGzlXI/KeY42rEMMyptcyGPBqhrIJ5hdyRoCWbmQfhRqSGYBbLp2hQTzkKI5s7bbyQynf4CY0eaKaSFpMckXvpiCR6khwX5QPUuhfggk+REJZYUijxJdS18HhixHN/7N83/TU3TJsCyZMLtgzks2ZVVLMoouQqmhxybF0LkChWZQrOWbtZO3mw2KyZZOVoeAFNe/nSWUqL7le3cLNI6+mWSwrM+V5oVEndfa2d/fu8V5d9W+ImklhEyMACS6JxiFHZgQvaqgquQ/Knn31Bvowq/hoGFBhGcmc5cBji/P8AtUSfrS0IP49TFSRnInJMGXIUlYkA2UkZ7K/rwKvVFkEXtuh3LupPxaiYYhDBeIwT0mRcUUlR2uSfqMC3NAqthvGbbGF8o2EqqXYglWkdmaw7KYipTJiLsE3Xza1tRMUjY3x7R3m7u/pvkvBaUNFdN5yBJ45yLpon3EvrPUKSepJlIBwQUBAUm3yUIWBPze2lwWW5q0dbgJBuzCIWklkDQ1atfqMBG8Ttfzg1X0f5jfDTqnR3hhhhnLxOEaT08R6eFsSoKg5PkVBp/BXtHDaVLvktZIY48omKxBo48WLSO6B4+RGUJZVYkEkjk1Wo99FLDnBm7kJyULvGWlcR1nXiolAb3oAVp6TJNtS7BA6oxDSSiV5YyrTFi+ca5dig1+GSOARiO43yNHdRd/Q3BQZmWnD+mFAZGQlRgSyquYKgHzbEnMDSr+GEMe6UoBI0vpFslXCIx3woLKYwVIPPPbZB8HEesXgeSPawWhxdlJZlxCYkgyFnCgF2NAAWSBjpaVjqToI226RVeVAxm3Kyqn4vfgiovAo1KJQVBagVJ88g66LDMduZAEkLsEcFvliUYJEMTiHBLDv9ifPsH1/p8yiIDamMq0ah2ezkVyUEAlUvhrSxRQGtEbbpMke5l24LkGYHllpiQDZINg5V9Rx+p0G8GwshvQ+jzIZmdWVkkJjGB9OyrKe2OzQlKsKIBw9stcdM7dxLNvIFmMmd+IwJKVlIYkUmClKsnleDzY0u5dtwUujwoOR4I9mNVRo+9EVwfGtP1VzKec1UgICQeSSKx5BvJua8AXqe51wS5yWLbdM20uxsi5ZVOLqlViBHI5KjFQGPCWcsTWV8GfAsmz2m1IaCU7ko8pDRysoUlggEigqiEALkaP1rVe6d0x5dvLEajEKN6ZIyLS5CUluCVBBKkKfN2CfLfY9WWOJF3cjrlC0XYbUGalNohIIA58Gslrw2mTxRXbi+5L8Kdei29fh+u0XqEPGRkECBRmWrEhB3fN49rrXqHw/1htzF6hheKzwH4JFC/PNhuKIFVrwfcbNTPJu0iKwLuDgoZUiaJXkhAjwBYmgbAI+U88jXo/wx8RxQbYgTbg+ngrRywtcRLBMQS2PDHxkWo82dUS7EZ+73Fz6xskkWmiEn6mjV+QfY++vOupdKi9V+2OTuIB9QqQB24kChfF/73nXprspJU/MBZH2Ni/64n9tVXrOy2iy1Lt0LUO4tCMvvTSK3m+SPIOiSR4MFIsqHCigSfIv7gUPBoeRXvWj9t8SttZ1mgxQqGIS+ACAPT7vmDHnj3JPGod9vFlQTGHEs7kCOZFjBUDJjFgWUG7ALi744GlrgSLYP6H/iDXNEfT66PJTc48HoXxP8aQbzp8C8zP6mLZCSL8YAY1TUeGYiy3yi6JB0kbr5VoY3CF9uJQk0ULM0fcFWQ18xuOgQFPPd918kjKtUpR5FkVY7HabRXWOjgO9qUjI2SQaB0qXdvllmbyVkYuMUbIvZJ4u7NHm+a50uClYJd1EzlWCMCUUKSxESswJlJJsUBldMAMWJ8Ea0kKOm2FpiqyWFR2IKuSZXAFtnWI8UAAaAvRjbkOmMsglp7R5GtVC2XkZRbMXNWCCTiSCb1x0d1dhjElorFlAILkuZAkar3M1DAZE/MOKAo8mqgjZbXFHWZvRLYBMyoYD1M1DQ8MgbBBmRiASb7joHdRRRuwKKrOe8yBmCqwHKqnPcCSLo8g8cEHKjs0800fC0DFI3LSp6eTfQjgsw8AuF8eB5ZMpWAVGtpFRqpWSTIZKuOUhUENlfAVQANI0FpMY7uZJPUj24/DZhkjKVhXHErIbjDBiqUQS3nk0L1N1jf7fcPFBstv2Ia/GYgEBLJJLkYFQ1NxzXHjSibbJHeLBgSy5Mvc6+CVyFRoGAa2I7X82DrPiDY/wsyII5FZUOT5G2PNDgUhRGUEDn6862nFRVIE8dwrr25iVI5BGwf8KSVCmA5DRlQW5xKrSsooA+55C3cTKk8aMzosRxZkbvViS0rA15VmK8DkRjXXQukrLuNuMi3Kvl5XGNe5SCMvnVUHtXjWtltLkVcmeR2ckEcGkLEE5d7B1XHjzfngavpTUHdCyTk7C+oSYRZlEdKEaqwbJQbbNCGFHFK98cqGmvTJWi3LelNHHGUkEiRqWWNQiyylchXpEqO6zytV4qmbhmztuPSoU9mypJrkVXFY/oPHh9s2PqBiEaOOJ56j9PhXjzKm/mZTS4t+WPxR52pKLVRVDwbk7ZDt9z6m8R5hn6gNkLw0sgIEjAnvNOG9i1AcHRu9LCKFSyvhGHDkXUbdvgjjlWpRfnkjwBR1JnjaCS3W1YkjFjS/iU0g7GCA+aFr4PFm7LdwyHdOUKQpCWEauTiz5IkIYqcVJIBIq8BYIvUJWGDTdeQKPqZC2yBkZ5FIwjAWV0Xuyq/JF2OQK9zrIpGMdwsjy5qwqKse4Dz6dLbkgWRwb4JIEHSzI0QCqSgaRmvCs/TpgMgb/Dw4otdlRYvR0MLQzOqUU7mB4A5ziT5+00Hb5uOTfm9M8CJJp2FdH6iTvvTkYMxcDPkWWpTdMGHJBWjd1q09X3wVU4BF3Ry+QGkVvm44eyQL48aofQZfU6mjysopnlLeEGAaayAe1Rjdc1QFaum/iLz/iYsywIpYYm2ZmcscRichi3HBux7HXR6fRepJRic+rqrTi2+CHb7yBlknSGEOGjRioWnckl0y9MYlrHnEGuMTwYBJs1cjBQ3qOnpxyqssZFjgqykg0RVE80wHuUnS4sWBQdwAYC6YLVX9QK4+mhZvhbbMb9Ojd8O45+vDedeg/hur5X/fY4f/R0vD/H+zsdB2n8MqlGJeRO5JSQGrEBo/WLIB8tk0KscDkkbJHftMgdO1UJUxAHuyTKMqW7iRWVlvm+o7fDsQVVIYorZhC7Ylv5jRsnk83fJ+uoofheONSA8hDckMVIujz8v3v+n0sFH8O1fC/kePxHSXDZPtemR+hHGZGAdmtW8vJyQGbBfUClTiDXF8EAa5g+H5Iish3jGRZXMZdUOLgqkiP+JbKQQKSvP1JGotp8O4Mv/wAiZwpBxdrU+ODVErQqiaon66edXVZlK2y3K0hKt3d3lDkpBW1Uih7DSP4drJfp/I8fiGk3+r8CSDpmSzhhC80rOLJwj9PnsURsQFsEglhwa4I1INqZduqYhJY3ctiJcZFkUrI5DoMpTi3y3QYmqJ1Ns9jIiLGZRQVvlQYlryDY/lOXJo0fp4qJtruGhNlGdQFU+wClSinFQQoK/Uk39qM36LVX+DKr1ulzvX8E3xLsJWaOWNIpFJje7wLPaqRID5sqI/via5PPLdHlk3SyM5hGLMpAQk0R2rywaw3d54sVzzztJZ1LGSCJyVGJWRkUPVElBwynk+1cfroqVyVSsmtLdCTiHLC+bN0CaNeODdnU36PU/a/4GXrIfuQm2HTrXCSCUD55CA5PzdguzmxHNZcf00Ft9mUBwj3CU7LbxRX3tipNhZKojmyASKJrTv8AiiYijRNyaCmMMoWzxQGPIo/a/tem/wDErOtq+KqjWXullyJVytKVxIGQ9wV96OoPQkrw19UP1VLhoq0U3orGyIjKvm7IfiyzBTyxUXkbr28ak6/Cu9RBA0duEDxrKva1hmKxyOGKLkR7WQfHnQXVYp9ssa+m6SS2zIw5YBn9MWLsnvIBI96sc6nh6pHAU9WF0kx7sVjCk3xTC7NWTfNjyfGoK4rgdMcz9LgjgjSKbBdvI2UcrKpllq8mZW5bEcUTxx4ABWdD3EwA9NnUyTc8qWkjbM0vaxDjFiQeBjfFkaD6tP6qkKjCNznZJwLd3dRNFqUi/PafpovqvWoY+nbX0dsU3CAEv6dRDEY+oFf5ybDWAQG+b7tHPI++uOx6l/6d/Eke6gcgsJRQKyGzgsaohDUAysFL2Pdzq1yS2e0Iw+t+/wBPl18+fCO33Jgk3EcYdlBKRnIiUO/eQoN4Eqcl8NRrkAj2zpe93fpKZYtuXIu45ziQfFBo7HFe5/XTquCMk+fJ4J8MdVj/AIXfwS0C+BiHIJezERV8ghuQTxZPtpeqGONVMbiNcrfHt9RiATmBTfKFq+DxrNZoXkqv02S7a/XDOwAWN1piwAbFlHyc2S1G/IyvXG224JMqGjt2iYljTv5dyrY/MDyDVBTZPFnNZpmHTVqn8wbpcPqTg0UiRnlNUzBF5x7j7CgSxrzZ0yXbxYeunDqLTEItguO9kFYVTIAoJJVjdVres0rYYpIYdWtdvEko9OVoJZIk7SXhljYLeAJSS40emoFW/mGq3toiyukjC1jXDzQSQmRms1iCvbdG/UUe+s1mmqhYtyZNJL62cjSFnLIRyQwsMMAxFhFA5a/GIA1x1Dd+o/agVAvyqpKgjmRgPC2RZxoUAPbWazQCMOk7DJdyWN+qoRfymR2UbmgaNfIL8JRBPtqP4a3cyLM4iWWBBciOFIxelYgHy2K1+g+us1mj3BeLOpdyajaKFfSgObo5IjYq5EbuxI9Ru70qHP4ZBu9DdY3RO4meIs8bKY/UHi2F9zAYk+f1A1rWa1CqVjPrceDJGsoaMsIczF6bmM4jI4t3x9zCiQ3t4OuOudbwdTFDDtWdSjekArhclNlQPwWIquSaJsnWtZovmhmtqtBvSPhn+HA3O5aAxY2AwZ5MziFBVSMTbEFrYDA8XzoXfTn1lMcZWM0I1JByQOyHF3sOeQbPF37DnNZpHyUS9oX8PdPEE0sk6ZhID6i2i8TMgILf5asEZrHjiq8jVgVV9afEswV1TJjy3pxol/Y0OR9b1ms16Xw/+6vueV65/wBJ/Y6La2XPvrNZr6JHgvgxZiDfuPGuktiB9dZrNOkTbJZF54FDWpP7VrNZpuwq5IJJhXg3ruGTgk3X0vz/ANtZrNTZZPPBz65PHv8AU6kgBIJ+n/n76zWa10ZK2cSxZWCSD7MDzWu9i5jcV8osMAeCpFe/F/rrNZoamnHUg1LwGGpLTmtvkB+L9hGIxMMh/lBpInIX5SsbleV8MyeDWV//AGEijptjKkkjySEIGJIid0D84qz3UeYHnn9ONZrNfHyj7j6mGcEG2mkDRy8MIqVQfGIYtiQtZAljdnmzd6fwfGQEhk9H12nVoiJyGxLNXYVALL3UQQLHH31ms0haqWPBY+mx+ohT+GCSze8bCPbsYVuyGQYRY5GrHhio8k9y/DW6kCeru1/DQIgiZsBGvygNGAHAJPcbP18azWam5OOUWj7nTP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9" name="AutoShape 12" descr="data:image/jpeg;base64,/9j/4AAQSkZJRgABAQAAAQABAAD/2wCEAAkGBhQSEBQUExMWFRUVFRgaGBgXFhoeFxoXGhkbFxoYHxgcHDIeGBkjGxgeHy8gIycpLSwvGB8yNjIqNiYtLCoBCQoKDgwOGg8PGi8kHyUsKSwpLCwsLCwqLCwsLCwsLCwsLCwsLCwsLCwsLCwpLCwsLCwsLCwsLCwpLCwsLCwsLP/AABEIAKgBLAMBIgACEQEDEQH/xAAcAAACAgMBAQAAAAAAAAAAAAAEBQMGAAECBwj/xAA/EAACAgEDAwIEBAQCCQUAAwABAgMREgAEIQUiMRNBBjJRYSNCcZEUUoGhFTNTYnKCscHR4fAHFiRD8WNzsv/EABoBAAMBAQEBAAAAAAAAAAAAAAECAwAEBQb/xAAuEQACAgEDAwIFAwUBAAAAAAAAAQIRIQMSMRNBUQQiBWFxgaEyUpEjM0LR8BX/2gAMAwEAAhEDEQA/APTxreuc9Znrus4aOtZrnPWZa1mo6rWVrnPWZ61mo6rWtc56zPRsO03WsrXOetepzrWaiUPrPU1HnrRbQwNklz1sHUGesz0KDZNnrRbUOes9TQoNkutYjUfqa0W1sgJeNby1EG1megwo7L6jMut3pZ1WckBEJzLDwa8FbF/odBtIKyHPJqJn1R91NKvP8S/kihI1+/t9ARWmfw91tR6gll/MAob2AHPtwP10LHofTtxpN1hzhXNZD3seL40x3O/DBSrAg3z7HVf6vugPOI5Py37Cufprn1E2ysHRB0Nb3Uf2yb9lP/XV19Q6qnw3F3LKObLJ4aqADEilNmlPF39tN95upAeMlGfP4RrEFwRkTwDh83nuGjCaiqZpR3O0NQ51mWqTvuvTKHCyOCIyQQmQyJEakn2pmBr3rXW867KudO5xikY0gY9qkjz47q/U0NP1UL02XO9Zqi7rdM7wh2LEfNwT2imfgEAcA8nx7aBhndUgYM4lcKAQHbkj2iLVxfg+NbqA6bPRDz9TqTbpftz7cf8ALVFl+I5gjuJWoyOF7fy5lV7a54H9ddp8R7iPNjKwKIgsoF7sAzHEggctX9NHqYB0y8bi1UsylQOSxHsOdJx1qBiAJFJJqvezqsr8S7icKsk5dWSRmX0wnaWEaDwLFpJz75fTS/a7weUK36qKhCE0Rk7HPwTin9Mh9tCOpRpadnoQW/GuaHvf7aru038rSKuZq+eB48/TToufrq6lZFxoUjrMv87fudZ/jEv87fvoQqv1P7f99Zx/4dWs5NzC/wDFpf52/fWv8Wl/nb9zobiuP+f/AE10v/nGsbcyf/Fpf9I37nWz1OX/AEjfudCmRR7/APDWerfgX/XWBuYT/icv+kb9zrP8Sl/nb9zodSx9q116TfXQNuZOOpy/6Rv31v8AxOX/AEjfvqD0T9dbCH/81jbmFL1J/d3/AHB/trn/ABGX/St/5/XUSbNjqZNl9ToWbczX+JS/6Q66/wATk/0jf21MuyX3BOpY9jfhf7aXcg3IGHUpf52/tqVeoyV8zX/TR8XS74ofsf8AkNF/4RiOSv6ENf8A/m9K5odKQqG6lPuf7f8ATU8Jmb83/D/pouRlS+5bAugoJr9DrJurqg7nUeDQHJ8kcKLPANaR6hVRkztNlLV+p/Sv+uu1Wvmka/YAeT9PGg//AHRAcR3MSRQC1ZNFQcyBz/T76HHV2MsiRgPHVEhEUEEmlXnnLIfN4rnybm5t8HRHS/cNttOr+7eavG7P0HP20t/EaV/TicLGSQ7ISS1A0ADybH19h4vRkvWpMBjzcYAPBCkAksFwojIY+/t7aE3PxNIIo4y6lpFAD+qis1i+OKDVXND5hXPhHKy+xIUdW6bIioDChdaIYXkRdnJb5u+fP9tAnee8qqMSOwg/JzlRsEefYef00/XdbgyZCTGRSkOJlyUue7vNAKxQBuKsMCK4Jd7D4fIUJKIzEQ5apHMgcmzUhrsoV/XSbmHakUs9eLRx4JGtKcxTcEWbsLXP09qPOlHWt9k1dpPd8pU+T/qk/wB6Or31b4eSIB4ZsXxJQZVkByeSe+rFj76qm7k3BYmTI/UqiK3HsH9OxRH/AB0N1A22HfD3T/w4lkQglXsGPnFiyj/678SDjKh71oqbftXGQDoS1xuoIIVgLvEG5Tx5NN/KdJl69HGKeOZyBeRxkOYYPTWAw7lWjZrjwBrn+Niz7KGMKqowZDiZD+UnGqjThRY4s9wGlu8jJVgAnGUrGvLwpffQFtM3I7R/lj9xf0I+9fOaSiOFjTkt+eVSeBxeCNR/760z2wsEfiSsSM7FIqJfGIv1GofY+44gi2hTtlWVWMgNNkpIVHAsMBwfUP619tOZk3VpVaR7I7YXA5aspSIBwv8A/b5131GdRLFZ7Yg0h7iP8pTILrzyv6aWbeQh8KIzkiA7jfaS1Ae9uEFasG0+At+8kn4TIGTENJIighpELcAlvkBHIHn9sZindxD09vBdZGND3H3oHn5j58+db3u7B27MpJ9aRmWjZPqOSoF/YgAf0Grts/8A0vdWWSWdc1s3ZCiwRWOIJAvyHF17al3PwPAkSh9zMqqAp/hYyrEWBWRzmr64sOLvTInZTQrRh1c90ccafOG+WMMxPupzZuDXgag6Oe2O3J4kkILggZsIl49uImP+8dXuH4K6TtCCYTZB5llkYEe9jLH+2nW2i2rRlYEiAWl/CRBiV5xscgi/H31qNZ5t1HdyxJmgdfqy5ChX8w8A1rafFe6of/HPIv8AypOR9dWmLqe4V8GCOxDUzHt7Sq8sq9oJewCLpGJ8Xo+DrsxsGACjVidMTwDYyo1zXIHIOqZ7Mk6fYrQQV7frraD6G9No9ov0r+mpl23+rx9a107jzRONqT7H99SfwJ+n76Zkr9f212P00NwBbHsP/K1Muy/8rRwiv8xGpPTUef7/APc6G4NC70K12Nmx8D99MA4Hj+2tGcD/AL624NAqdNPvWpl2QHvrZ3A+v7DWhuSTwvH1P/TQsOCRNsPf/wA+mpPSXXHqhjV1XJUcfUDzzXB/bUsZA0ljGomU8BTwffRMUxU8Af11rbRlrth54oHx/wBdMdp0cH8xqz7f1vStlYxb4AN51JwjNkRSk8ceBf2+n11Xd98VIAxRizGscqAJ4sgfMfNfqPvzY/i7py/w2I/nQtzziDzx7nmxfuBqjHpLKmDyI8lIzY2AqsoJcXf5QBX0x45NRlPODu0tGNXIi3HUZJGBDHLAjj2UAkg15N354HnU0m4yA9OIytHTSIfAUBD2kn2Yn7gHz41xt9iwZC1sFyzVrLKoJS29zYxb2r9edA9b6qPT9NFDEf5jAWKPgAkVwoy/ViB7abS097t8Lkrq6iglGKy+Bu9vI8e277QqWN4pxkTTElT2lQB51Jt+ott1WqHpgBmkNhghAON3QyrgAVR+1J+lbv0FpoFFtTKXtWS6Vr/LICx55uvqNM32LAZmUIj0CrPdLYtMFFg4k3S/YnSyneFwNGGblyWBJi7gzuIs1KNx4s8eeDYy82RXkaA+It3DEsTRiKR45UlpiK5UhEq8rqieOOONB7qHBg24f1UclVMYGRZQxTOMXQAUm65HkeRrvq/RYVRV26uVWNuOW7gitWQ/lZxkPfyfB0kngLirqw7oHWQcJvSFygk93B9P1LaNWNfmxs1yovTodXikhkdnEhvBVCmwWtVIWuQzWQxFfpzrzxNvPFucZSqQnPC5F9MlUVXAdgvulkcAYjzwdPU6Tutqcty6SpKAkeMb130wX8MYggISC3F0L0sXboVpVZdd103bNkWxOBGTOeA2NA2eMq8j78+dRbTpykI6qrKQC3cCwLXlRHvyPFDg6856A8IkMMhLKwUj1PZiMglnzVceaP8ATV66Jto0nQKwB5NBvYX9+RZ8aarQltCL4j6QnLRgurMRiEKspBORNDkXzf0x/XVe3XTJArExlsPygH1PNAVVjm7B+l/S/VfiPZJLEuURmCMJAqsAS6kY8/Xmx7duhN/08SUscBUqxt+0Hniw93Xk/wBRxpZKsjrJ5DuZWdGADq5awe0eLHJvz8v99GtuDKg9WMFlrJ+TkzEAeAcB54HkD60NXLr3wdizEeo/vmqgUPuAbc/UgA6UD4aVwKkWzVUwNEGzYqwKBN1rOUkakKR1ASbpIpNtIgy9NXKtIlMTVA2RZoHjj9ORdfQ28s0SbZdxAWdTnC0ixUp9RkZcgqsfB7SeaOq1telHNXTck+m/ivcc8XxX3+/jTX4Y3A2USoxWZxLI7yF1B7gAFv6AVx/q6MWJK2WqbpMwkdk9Nkw7FYMXLBfDNkKBP2Ogx1TcRtT7L8ygGOQH5uLplFAHzzrW6+PUWPIgJxdZqeAa/Kftx4/XVa6r8ZTfwzzq0Yj8gE2zEyIlYKbQGye7kBW8jnVExKLfu+vRqAJc4siVyZLCnBnuwSAAqk8/TS/dpuVkpFSRSwonKPisibOV8fQeSB9aR/BPxIN5OqyQsPVuiguH8MFqYs1hyCfAqgBr1E6zb7BVd0UaPcTlmB28hxCm0dGQk5DEFipJGPPHuNO4vhrNQzyzIxAJVWUBftQHtpyYV44HB+mqr1j4tmg3EkbCJFBHpl+WdCikvw4oZ5rRH5b99NbaE25YjMwP5v2Ouowfqf3/AO+u02g+p1J6Z9gdXPKo3HCPcgakX0x5cGz9H4/YajG1vz/x1PHtvYDn99axkSwrB25P5v2YHjz7ke49tbk9JOfTXEmhkXs/fyNRQuAa9Mv/AL1f8tE76JJACY1Rqq1bnjxfHOptlVlYOoeowgikBI/1aH6nuPGgNwXkPexq+F9h+wA1NBGFUDk0PNCz9zXF66L631M8qmDLAB7f21jCh513/Fgsy5C1xse4y+X99Y0YJB54v9KPm/2/to2I0RKx/XUsTtfGpodoxIuh3G+DyOaH6+D/AEOiIZFjVhYaRb4vnwXAr2OP20rkkVhoykF7PasR3MaYciz4+p+2hd78WGIyn02kCggYcm0ieZrHAFhQAbqyB71qp/EPxDLnIUfAY4cA5BopmHHI7csrNj8gvuF8R9ZznWdQzYRkypQVSPx0XFiQrGnRTZ4pOdRc7PRhoqKHsfV1LSrMyhHACE85PWJGC8gZKDRqy3Gqxv8AbAOsmK04xLBu4lA0TBlN5JSrV2T47SNID1OJZVaN5W26SgiF4lcoFPcUnkk9UOcWa+AMjxWh9x1hpS04UpGTimTH1aByJIHaoLm/N8WBxpNrb5LRlFYLT8M7YEzSRljLOJFdWshsgXUeT3DwScapq86i6dINwJVJCYSxoKFM7G+wBe7tUk3XGZrxpZ6LwDEgUwHg8AMHBkkH53ZgW8BRwKqxqTpu33ErSKWyzEZDiyplVGcs4uwAGBBHHK8k86Ltu2Uwlxz+CN+mZVzShsVy7i3qfnI8AcAggm/W+miR0thHEyP6kfqiORcLbKQBVPiqBDZck2fA131/4Y3EEIznhYjwkUb5KwQ4qH4NdoX6DLwebTwTNGDHGzAsGaQnub2fxxXK2PJ81lofVFJxiq2yvzhjBOsSRoY3i5YoQceAoNI2dcEEk+3zkX5OmfR+vOIyodGzGbBRYyZWUlSo8UIi3dxbV5pVPT0YKTkVRWNCzi8ZAkb/AFfOKlQODlRuiO9rLE7qjYkAWvLKvFLQxOI7R4rjitK5pEmk78B8vTzv4kaay0Em4Y80DE0ocAYijz2L55H30/2iRwNBtm9IIUPOUvrGY40Q9GPEkntAr9KrSDp3UYlcAxRrCqkExRWrElZArY/5ZBAIY2DyTV6n6pIWYNI8SsncFBQhhHk1lzRRfAzF0L+h0YZW6/sTks0l9y2QfD01IwjVQoqWNmuQMaYEMrY0FNEff7DVe3fTt4cQFMbqMWPaQWCg5AZd0ZPA8HtP1BOT/GssPqHbSoxd8mz7rxiwBX/WIiXiwOH9/MvwR8fHc22+VQzv6alExVQFRwWtr7vU8/Sv11RxQm9qrOOn9N3+3libONkYrmMzlRVQz8ikxYZBRd0eedHx7o7zcSLUsEoRlSVouMVYgMrFaosVOJHP3AOrtuNtHRBFcUD/AGFfeyK1VOh9K/gIu9jIzNEAjOcY1oGUqCaCqWIsV4Ue3Kbc4KKSabfImmnaHcXOyzN6YQrCmKqWOLE/ijvOZqvlBHmtNukRxfg4rIkjumJkIza1f1CwBrwhb/f+ngWfouzO9km/jJYzEQf83sVitt3EH8pUVY8nydQ9c+KfRlRoQrKA5DjEh2urZlGYYAlOasH6WdIlV7mByvgYfE/pbeAGeQRZmlwUEMWNkBOCW9z+hOvK54c5bjlJFcXaknx4uh7f99WCTrn8SdrBk0ywmNRGzqDI6Kq5B2qiSDyTzlqvQdOka5YxG699wMSSUzeuCKxCEe55vjQw+APJYI+noI1tiWAo0gAseADZ/c6FPREYkEsC30Pn9vHJ86D3/VnYG6X/AGCCAAOPH09h9tQ9I6s0YExlBGJAUk52bNkVXHH99LkGCwxbGbaRyRQP6Ydy7c4vdKpAf8opKsUeTR0w+Bet7oNHJJuHeF1ZysickAcAOSAGY40Ca83WlMXxGJIWBW2YKquG8FjjyPJq7ONa5XfPCtxvWC9qnjwOAftwBzxprBSZ630br/8AEyNgn4a5DO1YFlYqQCprmuP0OmkuyRzbIrH6lQT/AH14x0z4xZFSJZ3GCgVdWAPm+/1/rpjuf/ULfIcYsZFr5nxu/fyQf7adaqF2lkRTrpiF8n+mhdl8RPLGrxKqK6gjsphfsfuPGsWE+WOuqzymicbxfZcv1/7aPfqbkARqsX1Nc/0FV+96XgAeK1HHugzOlm0xvg13CwR9R5H9DofUaLaNb53RbQeo+a3ZrtLDM8e+N0PrWpX3IAJ8Ackn2A8knWpGABJPABJ/QcnWlcMvFMGH1sEH/iNYxqfdYLk142Lr2sgWfsLsn6aW9d3xwVUPD3bh1AVQVWTk+4RmPj8uiN1ljHgbT1Aj13ELRQ1Rvtar9xX20N0rpJdcZSykGUEAgq4kAbMEDsIcmrAPHjkaVyLQh3DpOkmRTzTHEZAUaDA0f6X++nKdMUowdqUjGxZ5bt8VzydAdT352sMbUCPWhjZmulRnCsx+vHv7XftqrDrU8kMzQRBwjrgLLd08gmBBschlUCyB3i6qyjkdGnoXyHzT7hY5TGVcxbqoiXoFXhCcjkkLLIbBB8E/TUHTmlUuoYTToWd3LIcCoVAoQlSB6c5b/dFnmtRdOjlj2k8U/YryRIkfBYAiM5JjRYeLAPs3gjQHT94E3jCZgkKqCeQSzSbeNCcBeBpx5+vAvwp11SYftFkaRYSYyFk3GS2rXHKySqxIFEF45VoeAV+41Nuumw7dM2IgEkckHaQDi5APaSo7WGV88XojbfG8EUasE/GCJE9lRkkbNh3FgoJyJAJABaiR5K7fdH/i/UZD6hYGVVZpBaSDJSikFEJwuuO6x7HQajy1kyTbKn1CKSCVl/h2oeFLoRQGRc+ymvr48+DoAdXcl5fSjdTlIVMoDKgUMBRWyMSAKuyrV4Oj9wsksrq1qVFsK/OmBwVUB7balJBAo34vXG8gWR2yXOmxkBAuwo5LDi2YO3B+nFadSN0reCfpOxkzUzGJU4kdvUJHpu1NZw7GUd3PsQfY6ZpvdsriTbGRGVwsIc2tFsG7o7BHpgAZcg2OPGk525uEkWFvsAt+blbGNVrEl2pauybJFASbaaL8FZS4RRHGpyHaMlXL5eALYVzdqdK7aG09unJOQDud80m9BcBzmFoEFGsgAWSBiTQs1X9NN/SC+ukZV2OdJahiloF+WiT3MR7UAOa0qnhj20skkczPJtnZ0VomCu0UmPnwyhuDj99Ptr/6rPNtJVmgHqlGUYFgCxzU8UcSKFcm78jSw05JHV631UNWacPAJ/iMUm4U4EFlUZDIIWMjqvN2qqfAHFA83pLueqNj2k0z/h2gyGLANkxBL2jEAgg2DfNab7DYRNGHMuSh6sIwuvSLAdh7yXontN1wfebZ9MO6MKw4k5YRiRbCssPrHkLweLGRN3fHJ0O+TiK/N1YF5vxWxKgqrKaaTnziK7QBVg3fnjR3SN8Wj9SzmTjS2EFHuQgKeDHjYBPzACrJFzb4J2W0hD7vbszmJmOEsgJdcbQKZAuRJ9uONdSfBKTuDt849qSEApi6MpcyMQ1mmyAsHjEfpp6VUjRk07fAjWOFAuSMQRiWsFWXJCuSNQADSsxa+Bfmq0z6K6lZY5EU2E/GxXIMFMjkgg+a9MccYgcedLd506dGo16eMiqO0jtYQIWNUmagNdcWASC2m3UumJHtTLHTeiuGamRVLg3eD2ZKNuWBtjzQA0sU+Cs3GsZHvwt1YOJBJK1wenSuxA4SOQ815BKobHmMn3J0l631R0SMNIw3A255BZ6xaR3a8QMHCgZGuCboA6D2MsX4PcI1jnWR3JUjEUkUbOxBWMBODYs2fc6L6z0KVix4CCFRnlG2WaIHk/8A5CAhYfdv66z4onyyq7naGS4lQBpvT5DCyy2oUm/Jri+fb31AkjplEtPk/hCwINefHsLF8Hz9tWmHaFuobSJz6bTGRo1QFXjj9OULYPK2ic/cEe2g22rKQ6PEyhmZh5dI8QaFLQLWzMTbfKCOdIos21CjZdPUZSq3KNZWqxAkeiT+a8bGPi+dHRbVGWMqXJl8L8pXH8M5kfdCPHkH66j6RvjHCzo8YWRochJ8+JYOVC0aQmyTx+hvTPf9WikneTcOkMjoCgZ6C2BVUBlS+3Fk6bamgJ1yJtz0VQ+WLBak5BDHJVJAoXQ+Uk14NDm6StgxBCYHFQ1tkPUru4Hy2bNNzyPGnu3M00jpEnrDkMQoZSCMvJ4YnzV2a8EaGUyRMXl283IKC4S0Q59saxNjmvp+wg8ZRpU+CpQ9SIla3IX2H3J+/ihr0Dp8oGwkidFZpSjBjIRQA4BFUTTH3I7h9NVH/wBoktykZB9/UcH9KP8A1026rIR3t2UVFA5DiiTZN3QBrxwBrTkuYiJMhfYytkyJGyJ5F2QKFCuP/PbXWy2HU5wz7fZsY8iAQkZFjg0ZBZH6Ei7970J0lX9WUqWIe6LEg0fHvxxr2D4f6nHBtoo1kelUfQ19R41ya+u9FWo2V0nK/a6NQQBRSih9tc73demmdFgGXKvIUkKW/wB28j9gda6XI/op6wqXEZ1RGQ8kH6e/jRLNftr1rPF7mWNRk91+5Fft/wDupEgvzoiPaj2s/wDD9tKFIWbsuXjTEtHKWSQgWEtGZSa/KcSv6sv1002HRvTRVzJCqFFkk0BQsnm69yb0SNuv0Gku628pn3aAyAPt0eJsSYwxLK6eMbOK8E8Bj4uyC8YqsnUfQD6LWfxfUjLMPMgidVV7AAzaJQW482PAFWKRo0jaQmlUFjwfAFnirJr2A1WJN8Y22UskqLhC38SGfHj0siQnuSyXj7BSR41V+ufHDPI0sJlSCTbKzWFrFlHgWGDh3C2GI5aufCnVGLYy+Netod2kaXxE6A5j0z6iKUYAeTmyfMPC2OL0n+DviFFkWJw0pzPqYl1yxvFaJCZAgAZEGkJu24T9Xm9ZtqfT9IvtWQAsFcTJlHFkZAClMqFSWr2Hitbn6NI8O5waNDDIHY5sZCuHpSsGUlsFZSW8iyTdVal6pUGbrrrb2KYsoilR45qYFhUivEqKx/IAUJJyBZbx5ICHedRkWZg7ktjeQILepTFOCKK5gMaAsi7vnUhT0jMzELUDiP1Q47ezFY6Fepmh+QkVldUdddZRo5FvuCfNkSRLEFr1fxK8hfHHlqsFSRT3WuBk0o/Mzbz1HIwjtlVc1VWR1LteAAr8MuxITg8VZ1YOn/EboSVeRSpCo4BNxmTJqWrdQ1D/AHQKpq1UJdw4zU4liM3BQePw3plbsKqysQKK8tiFB5Z9PkJDSPkWwc3HRN4t6eZemkfIljbse7trwC8BXuwWDrPSz/Hum22ob1GJZ1rLFir5AepWGZyPtf01L8L/AA+snqmWRgYPRzCkBs8EtjSmzbNyTZKkke+q6vW5YgQrGP0oiqqDUoDDJFIFAMvoqSVskHg2ObbD1fdepP8Aw6tNCLLUCxkIABKNd3jkL92APubMavIs/asB3XtjAJlhykWX0gy4oXdTK6xZX8qq2A8/Q+5APkvU5n9QKiyFVN0DTWhAJy57sqN+3HA516b8X9PlZ4p1FsFGaLVn0Czx2GUH5mDFfluMc3zqqfF3w9LuI7hVXG3GUvdyWkPzKoNdqim4BpAea4MX2FnwmKJeiuV9T8QXC7HvuR2CNK134BKmx54PGhtk3B9RJBkKIWrC2AGGRrI4P5+/sdQs+7iQxpNlEwaMsh/DoqS4tlDBcWJJqq9+Nc9I+JHhVYmClAaBxBZRbMKNiwGkc8/zn24074JxlUrGPTN086MqcHKBVDX6ad5BZ2IpVOCWzWTVEnwbF8N/EkcE0Qdcyh9QyKWpWZBC0oWPiUsGK4jwEFZG9Vb4f6gzMIZZWSIuC6gnE4AlSQBbKDdj73550w6P1l52ZSMUaNsmIY0a7Bjl3U35j8wNHk8o1WSikpYZ7Xvkg3xUeorNt5gOLwMnBMZPIY9oteSOLA0D0zrboJLhDom5SIPTMXZ2HeAOKOZxcCj22RyR5p03dBZ7iZizOxshAnrrI8tCzQDAIC8bCgvuLOitv8Qgu5bAhJ/VUSAAGcJ8pPCRuokrkVYNCxwg+3sy8ybs/wAdCcysSybhGOR5czLuMaAo8Ko8jHE/prnqI28kqQo7VMrSsJCTSxth2gg9xYEUK4LEcAjVTj3AZMXixkO3LmRhciupjODWAz4DgVxcrXRFnmHf97bpQ0W4jkqKgCJAMm9Jq4h7COOB+JRBsHTKnyJtayh3/wCnkG2bayvuWS5JJSVJqMRx/hkUTTiwxyq6Kg+Bq/8ATo4/4YCB8kC9pBLUCMgODY4I4sHnXms3WjJstjCXSJZUHqNlGHMzcucSKHcxoe5YkihqxfC8kxhlWKmhfPBmKmgYkSIqq45IMKIyWyW54Fo6WQ7Wyv8Aw503cPM27khIsSCIvMQ+BXLMee3uKnwafi71Inw4rg1IYpppWjWMsuILLnI6j8i/mx4N+RZ1YW+G551haaOFJAHWQWGRFLGii4m3KKoyJtQ8lHnS3qHRpEG32rwxS7eFo7L2fWW7d3HPNjIgAksa8aW48Io3KTtiLc/BaySkLNDHIqk/w54d8LS1Jk7eFs9oAsDjSjqm1WSWRD8ykdp+pNcMPp4u64OrbL13c7qKPe9Pizji3EpxoKX/AA2jFlmAESg0eLtAa1fJkh3O19aVBXpljwMlxBsBhdEG/BrTtWQPGJNq0FvG4j9PuFOMhgMSavuNg+x4OrB0vf7ncuI19KVQKYOny2Ls0PPvq19K+HpYURpVWRCciMjSZ9xLLib5PLDwNFQ/DEaGOYIcgxPabA5Iv61Q8eNLWDWU5Pg3cAlWRHW/mBpq/Q/8NI5unIGCgkOxVxmeCoAKsB7CqHj7eeNeo9S2ySxyCJ2DtS9rV5IBPJo0CTQ+/vrzv462bOzvH2x2YgxvjABvp4yFUDyV+ulkqyg3YQ3w6VQOSoJFgCgCPY3oKuBbYmjwWA8Ej6/bQnRdg27VL9VSkeC3mvcS1sGUUQt/Kf5vfU8G43aAqXmSiaUJlQ9ucPNckfUnWjHuxWy7xrfvotEGounSRyIrobUj+o+xBFqw9wRY0eq66jzVExFH01J48D9tYkZPgaG6l1yLbNGJQfxA2JAGNgEhTzdsQFAANlgPOg2WhCwnpm4WeMSRsCrfuCPII9iPcaS/FnxG+xlyOPpeiS1qeHshDfgFmsAEc4HXnI61uWimEUvpIkonC5qApkJVKYfmWSMkjJQbJxrgMOufHj7mLcwsuJkYekUCkqpssr3w3KHkEkgiglHSnStOngtE/WP4np0e4OIV45Y5RJ2lpPSeMqAKY5M1nBhwOPrqizdMUtIFiEeGA5kyRVLUTZI9SlQ8fa/5dG9N6IN9t9r6EhCQrHFuVBTlpHhSQhhIXBJjDC1AJFjydKd06ruwuBxIdVBIEhAciNyrAYhuSMi3aSe0aDLQRN6yLDYhI9QzANgDX4kRjay1FrhIvK1s91+ROnTOF3Kq8io0SgyKeQGdXUSW2TENaUvnNya51Pu0YbHb4yBkZ3skxri4YkgizZBfiifJ4B4A/Stm8hkVZACkLOyNGzKcGph6a+eVUlqsWPvrZHwa3ziRIrxB7VHy+ljGQoUHEEAZMSfb1D55Jmh6wyblBgSPrO7KqH0wgQuoPaCCABfmuSSddb/ZlEeLBFKOrj0x/wDWUX1BRkoMAhBFZEp48krpRuSZJJldY7OQU1wiswvPIg4qAAR+UD20Ld2Ua0nBJWpd+KGcMBuOb0w0MilSWVm+VSuWR7+aRgQRfF8HRHSd2rko4haQoo9TJUIPqWxvlWtBeSjgWeRyLFtN/tNntA0SYyTQxsAJlZw8q0rhOUDUoIGJXtFAmxrXWPjliZikZWMxhS2N26uyOoeNWxVlFgMwu1o8nWrIq1JOKTK4+3e3AjIU5r+ICqlkGPyADGigWyD4I8HXEXUkjhkWeCyNr2DAtiGkxtQw7ARl8vA4Nn2Ih2bJJt4payWX/MDLIBFIFoBWUqQFZsiR7P4+YiT7g+pMIZGZs5IhaKHkxYAH1CpByLIbsGgSTXI1UC2y7xdflXa9NRVBEtK2WOLKyFUUkng2yrR5sE1xRqm46cYS6cySyAxkyEMsbqWjdlQjFgzE2GuwSOL0p6VuiYDODNEqPCqkG+/H8QBjygMbDEe4I57dEx/FEczi/VzVTleI7r7iWY8sSf11rafA+np6coyt57X9RH1xGiB26kGOw+Vd5JjVD3Xyhx8H/mdL5OhN6ayIcuxnIPBAUgUP5idWLqO6gaQfhu7VQCyKW4HjEG7r20u6h1BcYgiSQ40y+orU4ZxRBAsVywI84kea0252sA6WlGErkm6xV+V8kuLAtpHJECSKc5RkG/VAIXjHyAbC/XytVemLdAwPe5VaKnBTJnJTMyKIzynbRs/cjyAX0dY0/ElUM0cX8QCpag9s8YYmmoKihV7gTKCb1F0vp4EDZFzKpe4ngLRECPOjIBauwDdysCo/2jqsIbld0c+EGxQrMaLvG0W3iLESIrM8liRaoYIGIWj47vOeuoNs38SYM09ISJeKogWjkKo1ZwNsxqr5Hvrp27XcFHKj1I7YMWelDEooruMpsHlQrEvyTiDqPcbKNymRRoI4EEg4zVmV5FDMnEpLqWsZCl8CzqL9rpleVyMZdxGjHECVg57ZEqFcFDsOSAjdqmyT4JBGdaD2O8YRRembCxZhhEvJ5dlAFFwrOIihIBxY15szb9Qgk3ZfKPCI+XQoZC4K0UN2gVSCCK5UWND9I6QZ0Kx3NI7I0K2vyCXkEo1KQgZitH5iaOlk03gdXQz6ZvWEjMXVUVAqHEFnjlaNsB8wUM4KWWIpwFC0tMPhn4wO23EUcuCxSs4BXhc2Kngex9RmLCq7gQfYC73fGANGkapHSeoHGYtXZ40IZqEkbVz3Z2ee3gT4T3PpujzK7LKBEHW0LNMqMFLMe6OwCGFLbiguR0jTayG0uD29Tf8AYgiufeiD7f359tB9agDRE/mUWv8AtAeP0OlvRPiSKRJDkqrG+J7gQpoHEtVZDIce11qbdbwSA04FqwFYkgkcEWcSb55se2p221HgXbWRbsN3hE0ccaLlkz+QCSS7kAA93k+9k6S/CG+jR5toJA8BkZX/ABgXLnAuFFBsBVcAeTdtZ1ZUgUng0R4Ni7B4PbwOKPtzfA086ZMDwwXP60Lb78Dzqrl7tpNxxaCqBOPfX2JH9wb0snWHblmkZQCPB5ckHkgDmrr7abhDndflofuSf34/bUG92UUwHqKHC8j6j9ua48e9aoiB53u4USb+I2O6RQKMkchJbAfNQbuurq/H1rjSqPqLSQ7aJlWMHcqWOTAvTF2yIII+bz9SPNVq3dS9TcsySQhFmlSONDRkMYKtMxYNS2ikYjwRySTQq3UPh/19zOEIRIbxGTcsfmGd3+554GjJJDcD2FUBZlZ+LBjDHG+OQPJ/XzqbbzKgqpASbORBN0BfcCa4+uqj09WglH8RFGVJ4RlJk+xF8f1P769A2nW45EDKhrx3LRH2o+36caigsrnwbs5NrB6e5xzytcPBUi6P+sCSL9wE+lCyv1CJGRXaNDJeORonEW1Enkgc1rieIBHJOChGJayMRjy3H0HPGvIOtDdTGGCamm9NaEgPcU9R7YjtAeInigzBUu2GWrWQjHdlnpnwj1d2aTbbl19eOR1UWgkZAA3KrwWCspLAKCGHHk6i+Ofh4b7bB4GDSxMyoyEGiWCv491dBx5FEfpR4opW3G1DuwmQKFkIdZGjCEohSvqmHqVmQwJvGw56Z1CeCPqZBeM5LJDI6ktIxObFldflAGLGr/ENHhdLyX2UxV8H9CbdQOE7GBMcgMalSRTK6vVKeczYU2f3g690k7GSNfSrOgpD5CTCu/EilOUl3xWRBFeWew6h/wDMEm1SWCHdgdkbQ90lDuGRaNCS4v3o+xGrf8Z7JDshJPHCDEysBNJcYs4kMa7zR4XmyBoNsssStnnPRJ22zJJIrdkzJIWLUVEazKuApSp4+Y33EixxpR1rrLjf/wARtPSsMPTK92NY2imgrLk5UVVhq8jje9ZhFCaCh1fAIgvjH1Bxxw6VweKAF0dQwSAieSO2WMxu4NgW6uj1VEKSQf8Ac5JuzXSklLLF1I2rRZf/AH9DMjmXaNK6jwcSqSc0SxFiiL8A8aQbbbGOgsoWV4+1ispkkWYiPFirCjZ8gHnKzxRabtpd105ZmjJxxUSKVdTjaySvGyAqw9Pgo3/2fbVegQYP6gyURlaq6YKQOQT3gOwUnhCycEeNPzd/ahk49o15yG9Mkl3249MLk5QKcvTUIEVwfPlu5TyC5IaiPIY/D00kdpJ2w7gyRzJKwC3iaYsB2kspQPXcGA5oaS7TeTYtEQY45Emb0+LsrmXf8xNIFDMPrQBGmMe2PpxMxyDZDLtyzZ3aig5x7gB+w540q1OllK7waEY60+m3WLRv4hatwY4wewCNFjjcsqwMwVASC1jIAvVMReXnQTThMY42uNlaYhAAkcmDSAhSuXEUSNiWpiL50b0/qypT2qtKcBI4yIAIckH5s8VoEc2eOaGgmWVxB6MiqXTEqeIwYyUNccqAxYkmwD9uZrU6mao6NX0/Rltu+CXpPWZpAWUGhIGEhZiVkxVFHqVR5NhOOGa7A0d02MSTxxjsjENn8qo07j12Wl+XE2Aa+QAeToKXaEqVVZvSaRmmLtGLKA2+EfFE8fmHA96Ot7Do77gSCeT0pVaKJlkZKlICVbGQPl4PGVVQ9gHOd+CTYbgAwhS3pybhm+aQ20bB4xjHLiHRQBnQ+axeJpluOrvvPTjhUeskoRHdIhA4ckAP+Fziii+R70DYGlGxiYNGHchY2ZfwzgSHvLvC/Me6uD4486m2O0yaSOGMlwySxrZ4UBLYUQGYAtQN3R+oBXcrBXYN33Xpdn1Hcpt5FitlNRpG6onzCiynBAW8AAgVxwNJOt9Xn3UUrbm5ZY8ULYItXkS+IUE0FGNVxISfbVp2QU7ZZJXXlHd+xBJ+EBEM2r5RjZ9yQBdAgon2iTAO1hxMY5Fyq4wFkaiF7QxLCyGINe1AM5WwUksgvUemyRbYxtzLKNrDTkKY8F9Vh/LiAIxZJqybHI0rXdusKGGNkANsA34bkRC3NENZBLWKxyI1aN1vEidJYzGDA00wEsh4Mjmo0BFMDQJ9z9rJMXoXDHuJAAWdSFE/nJbUhEy7ivBDRilAFAAHRWpSrkZaSk8OgNyPXphLTkYshfwGQBqFgByvcaJBfkDxqTZNkc41xKRusORRYS4CsxK13O6S9vPdlyQAaI3WzcyMqp6iSqfUIIWJm9SSaNcwSA1xs5rzQXjUXUFhl2+3jhiWP1WlEchY5mSywJJAbFnYIvH1JHA0n0Gkq5AN7B+AoTFTIkSMfUpywzUtwQMTfOYPBADDnTCXdbhDEBGyXAYoVW8ikg9QOsii7dVL2eFsk1ydQdX63EHbJpFxUIuC42uJBTFlFgNZz8kSt9gOoIWO0k3FlfxlXbvkFQ2zK7EHiNAPF0MjQ8UTVIXdk3t+oBIWamUtt0Xljkxp4jNyCoLFyo59ru+NCSy5Sxicfw4lQJKQrHONVC5FeGQAooryLJsg8u5tiU2areZdIzEqD55ecXZwcmGZL+StmgdLv8UkdJ4z2MZIliydmQuJD6jmRgclGPuaA4o+SYuOb5DJSxXBGxdFn9aRwkR9IxjFsmyDRgUbZVWJO4qvIIu7Gpd/t44IY5Wj9SOTxIAo57rXAtlxg1miPvzrhoPUaQr5WLl4kEls5CAoQQzW5JL1kC58itQy9HMbQwg+pkiyO8RMhHBYKAEtfF1RJsXYFaCnQHDwBbXfpGcpVyUk0F80eQPmHjgWPOnXwt8RGLfJOqtguRCP9CMCPqCVLc88/bQP+FiRWlET4RyBBWbFLBP3YgUASf5hyNDDaqsyotBucqa8SF4BvwwyYEexBGi2qErsfTfS+px7mJZYmtT+4Pup+hGtwbZyX9QKcnJqie0cKLNflHivJOvAOm7t0fFZCtWD3NjbDHKgw5A5B/1R9NWzp3V23G7jdJHwSWFMbfxHgGsH5rALE1zzpHKuxuna5PTetQRLE0rop9FCUscKcaFfT2Gqr/hDxbGN82QumbkBSyO/cO1gQVNhGxrwD9dC9Z6285lh9LON5UW4wWkQEnJHA5BwFiv5T9Rdln6ltZUKt6qjxRTcJ54o9oNf20yyJOLhhlO3W68pKoDWCGUDG65u2Wr48H3++tRb7dRdqKuPse7kfXtPP66F+INzHFKsSMZUdQFc9pX7MaAJHjI/8tKTunHasppePav6GjY0lO6oB62rfcD299Vv4w6RCu3l3IVRJFHkhZmC5qxZBQ5ouxFDzlXvqly/EsW96Z6M83pbiJ0aJ/z5R9wZO4U2Ni7FEjVm+GviGDf7dtqWlDlCozI9RggAZ1mW1fyPPdyby86q1QsY9ysdQ6usmyj3DyF5nkaKY3RijUhqUoiubV14BJqV696sfxHvS/Snkf09wTGhT+HZlYIzYCUA3mVZgcSKJBBPnVN658NS7OHbKMXfbOZixjYM4Vg2fki1sRkeWAjv5BpEerzxqgil5x4jXFs3ZgPS9JfJBkN3fdmfmAGlLUmsYCtruXh2wdTLFJHuWbMoCpBUFWxdLEhMagNdc0QfOt734rn3SIHkeQlmjVOxh+IAotQoDseApNVya50u2CMVnjd7jaONnf1e0MrkgOWZQ95UQtmyAKJNcSdQIjk8oQzeVAUOSoBx8tIoGRZicS9+eW3yH4yND1hfTjSRRGVUoFAdmWaR5iWsyHO1KFgSaZiKXSnZloVnjdqXCwCynmw5agTZxSiRda52chZHU9tIG8HJgXTEkgc4kLRAF2ODqCWMRt+I62B8rEEsbalJDWoIC9x/n+lnW5wZvaO9vstxtw7ruhijBVgWSRlZ5EyCYJxkAWYkCrQ8g6wo7ONuu1EjHcSn1ZAyI8zWKrOqqqtsr8UTRAbpJ9XEhvQLkhowzAxqrFscmGQal5L2tHxfMkm43MqxL6zn1y0qxBSB6iWbDUAFGPzZEjEE8c6eDi1kzUrwPdj8HbhZA8sbYwIy9jI2ScoLUG/lJY/ZEAo+COpbRBIMExjIYYh8TCgkYWqlgRK5VlBsUFckkXpDD8V70EbV3c5Ni0ciq11+VieWQ+9tiQbNjQe4Mn4biIDGNV8XgFpmHaAaxYWPNNR50jafH5K1tfKb+RPLB686TFmb8UOAFohVVZJZZFWwi8pZVgRZON8Drd74Q+lFgWEEryAKoJSK8vJskG7YeL4J41NN0aXaSiJzHOkzgFQfxWQnGN8Caj7gD818LdUNCpHgscqxZwh5jlRyCjyshUWB4IDL7L48aFrsIrvOL8h2x2KSQTMv4ipKFU5CsVKyKqu1sGtnFsoVru78a2W5SKYhkctRkjGZUhzTQoyk2QlkEAg8tZPFD7Hp7vFxGkULqGEhoqzB2Z29RawVIlZcG8ZDwXGoOp7ZiJWZRapHJzioxkJKlRnTiqrHPx71esZulQVudqZNqkyEByzh1BW7XHtrhsx3GqquebLMJC8iGMo2MhXgliCB5yBAsEEMOL8gjRGz6o0W1FMGzlXI/KeY42rEMMyptcyGPBqhrIJ5hdyRoCWbmQfhRqSGYBbLp2hQTzkKI5s7bbyQynf4CY0eaKaSFpMckXvpiCR6khwX5QPUuhfggk+REJZYUijxJdS18HhixHN/7N83/TU3TJsCyZMLtgzks2ZVVLMoouQqmhxybF0LkChWZQrOWbtZO3mw2KyZZOVoeAFNe/nSWUqL7le3cLNI6+mWSwrM+V5oVEndfa2d/fu8V5d9W+ImklhEyMACS6JxiFHZgQvaqgquQ/Knn31Bvowq/hoGFBhGcmc5cBji/P8AtUSfrS0IP49TFSRnInJMGXIUlYkA2UkZ7K/rwKvVFkEXtuh3LupPxaiYYhDBeIwT0mRcUUlR2uSfqMC3NAqthvGbbGF8o2EqqXYglWkdmaw7KYipTJiLsE3Xza1tRMUjY3x7R3m7u/pvkvBaUNFdN5yBJ45yLpon3EvrPUKSepJlIBwQUBAUm3yUIWBPze2lwWW5q0dbgJBuzCIWklkDQ1atfqMBG8Ttfzg1X0f5jfDTqnR3hhhhnLxOEaT08R6eFsSoKg5PkVBp/BXtHDaVLvktZIY48omKxBo48WLSO6B4+RGUJZVYkEkjk1Wo99FLDnBm7kJyULvGWlcR1nXiolAb3oAVp6TJNtS7BA6oxDSSiV5YyrTFi+ca5dig1+GSOARiO43yNHdRd/Q3BQZmWnD+mFAZGQlRgSyquYKgHzbEnMDSr+GEMe6UoBI0vpFslXCIx3woLKYwVIPPPbZB8HEesXgeSPawWhxdlJZlxCYkgyFnCgF2NAAWSBjpaVjqToI226RVeVAxm3Kyqn4vfgiovAo1KJQVBagVJ88g66LDMduZAEkLsEcFvliUYJEMTiHBLDv9ifPsH1/p8yiIDamMq0ah2ezkVyUEAlUvhrSxRQGtEbbpMke5l24LkGYHllpiQDZINg5V9Rx+p0G8GwshvQ+jzIZmdWVkkJjGB9OyrKe2OzQlKsKIBw9stcdM7dxLNvIFmMmd+IwJKVlIYkUmClKsnleDzY0u5dtwUujwoOR4I9mNVRo+9EVwfGtP1VzKec1UgICQeSSKx5BvJua8AXqe51wS5yWLbdM20uxsi5ZVOLqlViBHI5KjFQGPCWcsTWV8GfAsmz2m1IaCU7ko8pDRysoUlggEigqiEALkaP1rVe6d0x5dvLEajEKN6ZIyLS5CUluCVBBKkKfN2CfLfY9WWOJF3cjrlC0XYbUGalNohIIA58Gslrw2mTxRXbi+5L8Kdei29fh+u0XqEPGRkECBRmWrEhB3fN49rrXqHw/1htzF6hheKzwH4JFC/PNhuKIFVrwfcbNTPJu0iKwLuDgoZUiaJXkhAjwBYmgbAI+U88jXo/wx8RxQbYgTbg+ngrRywtcRLBMQS2PDHxkWo82dUS7EZ+73Fz6xskkWmiEn6mjV+QfY++vOupdKi9V+2OTuIB9QqQB24kChfF/73nXprspJU/MBZH2Ni/64n9tVXrOy2iy1Lt0LUO4tCMvvTSK3m+SPIOiSR4MFIsqHCigSfIv7gUPBoeRXvWj9t8SttZ1mgxQqGIS+ACAPT7vmDHnj3JPGod9vFlQTGHEs7kCOZFjBUDJjFgWUG7ALi744GlrgSLYP6H/iDXNEfT66PJTc48HoXxP8aQbzp8C8zP6mLZCSL8YAY1TUeGYiy3yi6JB0kbr5VoY3CF9uJQk0ULM0fcFWQ18xuOgQFPPd918kjKtUpR5FkVY7HabRXWOjgO9qUjI2SQaB0qXdvllmbyVkYuMUbIvZJ4u7NHm+a50uClYJd1EzlWCMCUUKSxESswJlJJsUBldMAMWJ8Ea0kKOm2FpiqyWFR2IKuSZXAFtnWI8UAAaAvRjbkOmMsglp7R5GtVC2XkZRbMXNWCCTiSCb1x0d1dhjElorFlAILkuZAkar3M1DAZE/MOKAo8mqgjZbXFHWZvRLYBMyoYD1M1DQ8MgbBBmRiASb7joHdRRRuwKKrOe8yBmCqwHKqnPcCSLo8g8cEHKjs0800fC0DFI3LSp6eTfQjgsw8AuF8eB5ZMpWAVGtpFRqpWSTIZKuOUhUENlfAVQANI0FpMY7uZJPUj24/DZhkjKVhXHErIbjDBiqUQS3nk0L1N1jf7fcPFBstv2Ia/GYgEBLJJLkYFQ1NxzXHjSibbJHeLBgSy5Mvc6+CVyFRoGAa2I7X82DrPiDY/wsyII5FZUOT5G2PNDgUhRGUEDn6862nFRVIE8dwrr25iVI5BGwf8KSVCmA5DRlQW5xKrSsooA+55C3cTKk8aMzosRxZkbvViS0rA15VmK8DkRjXXQukrLuNuMi3Kvl5XGNe5SCMvnVUHtXjWtltLkVcmeR2ckEcGkLEE5d7B1XHjzfngavpTUHdCyTk7C+oSYRZlEdKEaqwbJQbbNCGFHFK98cqGmvTJWi3LelNHHGUkEiRqWWNQiyylchXpEqO6zytV4qmbhmztuPSoU9mypJrkVXFY/oPHh9s2PqBiEaOOJ56j9PhXjzKm/mZTS4t+WPxR52pKLVRVDwbk7ZDt9z6m8R5hn6gNkLw0sgIEjAnvNOG9i1AcHRu9LCKFSyvhGHDkXUbdvgjjlWpRfnkjwBR1JnjaCS3W1YkjFjS/iU0g7GCA+aFr4PFm7LdwyHdOUKQpCWEauTiz5IkIYqcVJIBIq8BYIvUJWGDTdeQKPqZC2yBkZ5FIwjAWV0Xuyq/JF2OQK9zrIpGMdwsjy5qwqKse4Dz6dLbkgWRwb4JIEHSzI0QCqSgaRmvCs/TpgMgb/Dw4otdlRYvR0MLQzOqUU7mB4A5ziT5+00Hb5uOTfm9M8CJJp2FdH6iTvvTkYMxcDPkWWpTdMGHJBWjd1q09X3wVU4BF3Ry+QGkVvm44eyQL48aofQZfU6mjysopnlLeEGAaayAe1Rjdc1QFaum/iLz/iYsywIpYYm2ZmcscRichi3HBux7HXR6fRepJRic+rqrTi2+CHb7yBlknSGEOGjRioWnckl0y9MYlrHnEGuMTwYBJs1cjBQ3qOnpxyqssZFjgqykg0RVE80wHuUnS4sWBQdwAYC6YLVX9QK4+mhZvhbbMb9Ojd8O45+vDedeg/hur5X/fY4f/R0vD/H+zsdB2n8MqlGJeRO5JSQGrEBo/WLIB8tk0KscDkkbJHftMgdO1UJUxAHuyTKMqW7iRWVlvm+o7fDsQVVIYorZhC7Ylv5jRsnk83fJ+uoofheONSA8hDckMVIujz8v3v+n0sFH8O1fC/kePxHSXDZPtemR+hHGZGAdmtW8vJyQGbBfUClTiDXF8EAa5g+H5Iish3jGRZXMZdUOLgqkiP+JbKQQKSvP1JGotp8O4Mv/wAiZwpBxdrU+ODVErQqiaon66edXVZlK2y3K0hKt3d3lDkpBW1Uih7DSP4drJfp/I8fiGk3+r8CSDpmSzhhC80rOLJwj9PnsURsQFsEglhwa4I1INqZduqYhJY3ctiJcZFkUrI5DoMpTi3y3QYmqJ1Ns9jIiLGZRQVvlQYlryDY/lOXJo0fp4qJtruGhNlGdQFU+wClSinFQQoK/Uk39qM36LVX+DKr1ulzvX8E3xLsJWaOWNIpFJje7wLPaqRID5sqI/via5PPLdHlk3SyM5hGLMpAQk0R2rywaw3d54sVzzztJZ1LGSCJyVGJWRkUPVElBwynk+1cfroqVyVSsmtLdCTiHLC+bN0CaNeODdnU36PU/a/4GXrIfuQm2HTrXCSCUD55CA5PzdguzmxHNZcf00Ft9mUBwj3CU7LbxRX3tipNhZKojmyASKJrTv8AiiYijRNyaCmMMoWzxQGPIo/a/tem/wDErOtq+KqjWXullyJVytKVxIGQ9wV96OoPQkrw19UP1VLhoq0U3orGyIjKvm7IfiyzBTyxUXkbr28ak6/Cu9RBA0duEDxrKva1hmKxyOGKLkR7WQfHnQXVYp9ssa+m6SS2zIw5YBn9MWLsnvIBI96sc6nh6pHAU9WF0kx7sVjCk3xTC7NWTfNjyfGoK4rgdMcz9LgjgjSKbBdvI2UcrKpllq8mZW5bEcUTxx4ABWdD3EwA9NnUyTc8qWkjbM0vaxDjFiQeBjfFkaD6tP6qkKjCNznZJwLd3dRNFqUi/PafpovqvWoY+nbX0dsU3CAEv6dRDEY+oFf5ybDWAQG+b7tHPI++uOx6l/6d/Eke6gcgsJRQKyGzgsaohDUAysFL2Pdzq1yS2e0Iw+t+/wBPl18+fCO33Jgk3EcYdlBKRnIiUO/eQoN4Eqcl8NRrkAj2zpe93fpKZYtuXIu45ziQfFBo7HFe5/XTquCMk+fJ4J8MdVj/AIXfwS0C+BiHIJezERV8ghuQTxZPtpeqGONVMbiNcrfHt9RiATmBTfKFq+DxrNZoXkqv02S7a/XDOwAWN1piwAbFlHyc2S1G/IyvXG224JMqGjt2iYljTv5dyrY/MDyDVBTZPFnNZpmHTVqn8wbpcPqTg0UiRnlNUzBF5x7j7CgSxrzZ0yXbxYeunDqLTEItguO9kFYVTIAoJJVjdVres0rYYpIYdWtdvEko9OVoJZIk7SXhljYLeAJSS40emoFW/mGq3toiyukjC1jXDzQSQmRms1iCvbdG/UUe+s1mmqhYtyZNJL62cjSFnLIRyQwsMMAxFhFA5a/GIA1x1Dd+o/agVAvyqpKgjmRgPC2RZxoUAPbWazQCMOk7DJdyWN+qoRfymR2UbmgaNfIL8JRBPtqP4a3cyLM4iWWBBciOFIxelYgHy2K1+g+us1mj3BeLOpdyajaKFfSgObo5IjYq5EbuxI9Ru70qHP4ZBu9DdY3RO4meIs8bKY/UHi2F9zAYk+f1A1rWa1CqVjPrceDJGsoaMsIczF6bmM4jI4t3x9zCiQ3t4OuOudbwdTFDDtWdSjekArhclNlQPwWIquSaJsnWtZovmhmtqtBvSPhn+HA3O5aAxY2AwZ5MziFBVSMTbEFrYDA8XzoXfTn1lMcZWM0I1JByQOyHF3sOeQbPF37DnNZpHyUS9oX8PdPEE0sk6ZhID6i2i8TMgILf5asEZrHjiq8jVgVV9afEswV1TJjy3pxol/Y0OR9b1ms16Xw/+6vueV65/wBJ/Y6La2XPvrNZr6JHgvgxZiDfuPGuktiB9dZrNOkTbJZF54FDWpP7VrNZpuwq5IJJhXg3ruGTgk3X0vz/ANtZrNTZZPPBz65PHv8AU6kgBIJ+n/n76zWa10ZK2cSxZWCSD7MDzWu9i5jcV8osMAeCpFe/F/rrNZoamnHUg1LwGGpLTmtvkB+L9hGIxMMh/lBpInIX5SsbleV8MyeDWV//AGEijptjKkkjySEIGJIid0D84qz3UeYHnn9ONZrNfHyj7j6mGcEG2mkDRy8MIqVQfGIYtiQtZAljdnmzd6fwfGQEhk9H12nVoiJyGxLNXYVALL3UQQLHH31ms0haqWPBY+mx+ohT+GCSze8bCPbsYVuyGQYRY5GrHhio8k9y/DW6kCeru1/DQIgiZsBGvygNGAHAJPcbP18azWam5OOUWj7nTP/Z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" name="ZoneTexte 1"/>
          <p:cNvSpPr txBox="1"/>
          <p:nvPr/>
        </p:nvSpPr>
        <p:spPr>
          <a:xfrm>
            <a:off x="155575" y="2082635"/>
            <a:ext cx="8749625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ny live cell with fewer than two live </a:t>
            </a:r>
            <a:r>
              <a:rPr lang="en-US" dirty="0" err="1"/>
              <a:t>neighbours</a:t>
            </a:r>
            <a:r>
              <a:rPr lang="en-US" dirty="0"/>
              <a:t> dies, as if caused by </a:t>
            </a:r>
            <a:r>
              <a:rPr lang="en-US" dirty="0" smtClean="0"/>
              <a:t>under-popul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ny live cell with two or three live </a:t>
            </a:r>
            <a:r>
              <a:rPr lang="en-US" dirty="0" err="1"/>
              <a:t>neighbours</a:t>
            </a:r>
            <a:r>
              <a:rPr lang="en-US" dirty="0"/>
              <a:t> lives on to the next </a:t>
            </a:r>
            <a:r>
              <a:rPr lang="en-US" dirty="0" smtClean="0"/>
              <a:t>gener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ny live cell with more than three live </a:t>
            </a:r>
            <a:r>
              <a:rPr lang="en-US" dirty="0" err="1"/>
              <a:t>neighbours</a:t>
            </a:r>
            <a:r>
              <a:rPr lang="en-US" dirty="0"/>
              <a:t> dies, as if by </a:t>
            </a:r>
            <a:r>
              <a:rPr lang="en-US" dirty="0" smtClean="0"/>
              <a:t>overcrowd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ny dead cell with exactly three live </a:t>
            </a:r>
            <a:r>
              <a:rPr lang="en-US" dirty="0" err="1"/>
              <a:t>neighbours</a:t>
            </a:r>
            <a:r>
              <a:rPr lang="en-US" dirty="0"/>
              <a:t> becomes a live cell, as if by </a:t>
            </a:r>
            <a:r>
              <a:rPr lang="en-US" dirty="0" smtClean="0"/>
              <a:t>reproduc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21365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1331640" y="980728"/>
            <a:ext cx="5940152" cy="599478"/>
          </a:xfrm>
        </p:spPr>
        <p:txBody>
          <a:bodyPr/>
          <a:lstStyle/>
          <a:p>
            <a:r>
              <a:rPr lang="fr-FR" sz="3600" dirty="0" smtClean="0"/>
              <a:t>Session </a:t>
            </a:r>
            <a:endParaRPr lang="en-US" sz="2400" dirty="0"/>
          </a:p>
        </p:txBody>
      </p:sp>
      <p:sp>
        <p:nvSpPr>
          <p:cNvPr id="8" name="AutoShape 10" descr="data:image/jpeg;base64,/9j/4AAQSkZJRgABAQAAAQABAAD/2wCEAAkGBhQSEBQUExMWFRUVFRgaGBgXFhoeFxoXGhkbFxoYHxgcHDIeGBkjGxgeHy8gIycpLSwvGB8yNjIqNiYtLCoBCQoKDgwOGg8PGi8kHyUsKSwpLCwsLCwqLCwsLCwsLCwsLCwsLCwsLCwsLCwpLCwsLCwsLCwsLCwpLCwsLCwsLP/AABEIAKgBLAMBIgACEQEDEQH/xAAcAAACAgMBAQAAAAAAAAAAAAAEBQMGAAECBwj/xAA/EAACAgEDAwIEBAQCCQUAAwABAgMREgAEIQUiMRNBBjJRYSNCcZEUUoGhFTNTYnKCscHR4fAHFiRD8WNzsv/EABoBAAMBAQEBAAAAAAAAAAAAAAECAwAEBQb/xAAuEQACAgEDAwIFAwUBAAAAAAAAAQIRIQMSMRNBUQQiBWFxgaEyUpEjM0LR8BX/2gAMAwEAAhEDEQA/APTxreuc9Znrus4aOtZrnPWZa1mo6rWVrnPWZ61mo6rWtc56zPRsO03WsrXOetepzrWaiUPrPU1HnrRbQwNklz1sHUGesz0KDZNnrRbUOes9TQoNkutYjUfqa0W1sgJeNby1EG1megwo7L6jMut3pZ1WckBEJzLDwa8FbF/odBtIKyHPJqJn1R91NKvP8S/kihI1+/t9ARWmfw91tR6gll/MAob2AHPtwP10LHofTtxpN1hzhXNZD3seL40x3O/DBSrAg3z7HVf6vugPOI5Py37Cufprn1E2ysHRB0Nb3Uf2yb9lP/XV19Q6qnw3F3LKObLJ4aqADEilNmlPF39tN95upAeMlGfP4RrEFwRkTwDh83nuGjCaiqZpR3O0NQ51mWqTvuvTKHCyOCIyQQmQyJEakn2pmBr3rXW867KudO5xikY0gY9qkjz47q/U0NP1UL02XO9Zqi7rdM7wh2LEfNwT2imfgEAcA8nx7aBhndUgYM4lcKAQHbkj2iLVxfg+NbqA6bPRDz9TqTbpftz7cf8ALVFl+I5gjuJWoyOF7fy5lV7a54H9ddp8R7iPNjKwKIgsoF7sAzHEggctX9NHqYB0y8bi1UsylQOSxHsOdJx1qBiAJFJJqvezqsr8S7icKsk5dWSRmX0wnaWEaDwLFpJz75fTS/a7weUK36qKhCE0Rk7HPwTin9Mh9tCOpRpadnoQW/GuaHvf7aru038rSKuZq+eB48/TToufrq6lZFxoUjrMv87fudZ/jEv87fvoQqv1P7f99Zx/4dWs5NzC/wDFpf52/fWv8Wl/nb9zobiuP+f/AE10v/nGsbcyf/Fpf9I37nWz1OX/AEjfudCmRR7/APDWerfgX/XWBuYT/icv+kb9zrP8Sl/nb9zodSx9q116TfXQNuZOOpy/6Rv31v8AxOX/AEjfvqD0T9dbCH/81jbmFL1J/d3/AHB/trn/ABGX/St/5/XUSbNjqZNl9ToWbczX+JS/6Q66/wATk/0jf21MuyX3BOpY9jfhf7aXcg3IGHUpf52/tqVeoyV8zX/TR8XS74ofsf8AkNF/4RiOSv6ENf8A/m9K5odKQqG6lPuf7f8ATU8Jmb83/D/pouRlS+5bAugoJr9DrJurqg7nUeDQHJ8kcKLPANaR6hVRkztNlLV+p/Sv+uu1Wvmka/YAeT9PGg//AHRAcR3MSRQC1ZNFQcyBz/T76HHV2MsiRgPHVEhEUEEmlXnnLIfN4rnybm5t8HRHS/cNttOr+7eavG7P0HP20t/EaV/TicLGSQ7ISS1A0ADybH19h4vRkvWpMBjzcYAPBCkAksFwojIY+/t7aE3PxNIIo4y6lpFAD+qis1i+OKDVXND5hXPhHKy+xIUdW6bIioDChdaIYXkRdnJb5u+fP9tAnee8qqMSOwg/JzlRsEefYef00/XdbgyZCTGRSkOJlyUue7vNAKxQBuKsMCK4Jd7D4fIUJKIzEQ5apHMgcmzUhrsoV/XSbmHakUs9eLRx4JGtKcxTcEWbsLXP09qPOlHWt9k1dpPd8pU+T/qk/wB6Or31b4eSIB4ZsXxJQZVkByeSe+rFj76qm7k3BYmTI/UqiK3HsH9OxRH/AB0N1A22HfD3T/w4lkQglXsGPnFiyj/678SDjKh71oqbftXGQDoS1xuoIIVgLvEG5Tx5NN/KdJl69HGKeOZyBeRxkOYYPTWAw7lWjZrjwBrn+Niz7KGMKqowZDiZD+UnGqjThRY4s9wGlu8jJVgAnGUrGvLwpffQFtM3I7R/lj9xf0I+9fOaSiOFjTkt+eVSeBxeCNR/760z2wsEfiSsSM7FIqJfGIv1GofY+44gi2hTtlWVWMgNNkpIVHAsMBwfUP619tOZk3VpVaR7I7YXA5aspSIBwv8A/b5131GdRLFZ7Yg0h7iP8pTILrzyv6aWbeQh8KIzkiA7jfaS1Ae9uEFasG0+At+8kn4TIGTENJIighpELcAlvkBHIHn9sZindxD09vBdZGND3H3oHn5j58+db3u7B27MpJ9aRmWjZPqOSoF/YgAf0Grts/8A0vdWWSWdc1s3ZCiwRWOIJAvyHF17al3PwPAkSh9zMqqAp/hYyrEWBWRzmr64sOLvTInZTQrRh1c90ccafOG+WMMxPupzZuDXgag6Oe2O3J4kkILggZsIl49uImP+8dXuH4K6TtCCYTZB5llkYEe9jLH+2nW2i2rRlYEiAWl/CRBiV5xscgi/H31qNZ5t1HdyxJmgdfqy5ChX8w8A1rafFe6of/HPIv8AypOR9dWmLqe4V8GCOxDUzHt7Sq8sq9oJewCLpGJ8Xo+DrsxsGACjVidMTwDYyo1zXIHIOqZ7Mk6fYrQQV7frraD6G9No9ov0r+mpl23+rx9a107jzRONqT7H99SfwJ+n76Zkr9f212P00NwBbHsP/K1Muy/8rRwiv8xGpPTUef7/APc6G4NC70K12Nmx8D99MA4Hj+2tGcD/AL624NAqdNPvWpl2QHvrZ3A+v7DWhuSTwvH1P/TQsOCRNsPf/wA+mpPSXXHqhjV1XJUcfUDzzXB/bUsZA0ljGomU8BTwffRMUxU8Af11rbRlrth54oHx/wBdMdp0cH8xqz7f1vStlYxb4AN51JwjNkRSk8ceBf2+n11Xd98VIAxRizGscqAJ4sgfMfNfqPvzY/i7py/w2I/nQtzziDzx7nmxfuBqjHpLKmDyI8lIzY2AqsoJcXf5QBX0x45NRlPODu0tGNXIi3HUZJGBDHLAjj2UAkg15N354HnU0m4yA9OIytHTSIfAUBD2kn2Yn7gHz41xt9iwZC1sFyzVrLKoJS29zYxb2r9edA9b6qPT9NFDEf5jAWKPgAkVwoy/ViB7abS097t8Lkrq6iglGKy+Bu9vI8e277QqWN4pxkTTElT2lQB51Jt+ott1WqHpgBmkNhghAON3QyrgAVR+1J+lbv0FpoFFtTKXtWS6Vr/LICx55uvqNM32LAZmUIj0CrPdLYtMFFg4k3S/YnSyneFwNGGblyWBJi7gzuIs1KNx4s8eeDYy82RXkaA+It3DEsTRiKR45UlpiK5UhEq8rqieOOONB7qHBg24f1UclVMYGRZQxTOMXQAUm65HkeRrvq/RYVRV26uVWNuOW7gitWQ/lZxkPfyfB0kngLirqw7oHWQcJvSFygk93B9P1LaNWNfmxs1yovTodXikhkdnEhvBVCmwWtVIWuQzWQxFfpzrzxNvPFucZSqQnPC5F9MlUVXAdgvulkcAYjzwdPU6Tutqcty6SpKAkeMb130wX8MYggISC3F0L0sXboVpVZdd103bNkWxOBGTOeA2NA2eMq8j78+dRbTpykI6qrKQC3cCwLXlRHvyPFDg6856A8IkMMhLKwUj1PZiMglnzVceaP8ATV66Jto0nQKwB5NBvYX9+RZ8aarQltCL4j6QnLRgurMRiEKspBORNDkXzf0x/XVe3XTJArExlsPygH1PNAVVjm7B+l/S/VfiPZJLEuURmCMJAqsAS6kY8/Xmx7duhN/08SUscBUqxt+0Hniw93Xk/wBRxpZKsjrJ5DuZWdGADq5awe0eLHJvz8v99GtuDKg9WMFlrJ+TkzEAeAcB54HkD60NXLr3wdizEeo/vmqgUPuAbc/UgA6UD4aVwKkWzVUwNEGzYqwKBN1rOUkakKR1ASbpIpNtIgy9NXKtIlMTVA2RZoHjj9ORdfQ28s0SbZdxAWdTnC0ixUp9RkZcgqsfB7SeaOq1telHNXTck+m/ivcc8XxX3+/jTX4Y3A2USoxWZxLI7yF1B7gAFv6AVx/q6MWJK2WqbpMwkdk9Nkw7FYMXLBfDNkKBP2Ogx1TcRtT7L8ygGOQH5uLplFAHzzrW6+PUWPIgJxdZqeAa/Kftx4/XVa6r8ZTfwzzq0Yj8gE2zEyIlYKbQGye7kBW8jnVExKLfu+vRqAJc4siVyZLCnBnuwSAAqk8/TS/dpuVkpFSRSwonKPisibOV8fQeSB9aR/BPxIN5OqyQsPVuiguH8MFqYs1hyCfAqgBr1E6zb7BVd0UaPcTlmB28hxCm0dGQk5DEFipJGPPHuNO4vhrNQzyzIxAJVWUBftQHtpyYV44HB+mqr1j4tmg3EkbCJFBHpl+WdCikvw4oZ5rRH5b99NbaE25YjMwP5v2Ouowfqf3/AO+u02g+p1J6Z9gdXPKo3HCPcgakX0x5cGz9H4/YajG1vz/x1PHtvYDn99axkSwrB25P5v2YHjz7ke49tbk9JOfTXEmhkXs/fyNRQuAa9Mv/AL1f8tE76JJACY1Rqq1bnjxfHOptlVlYOoeowgikBI/1aH6nuPGgNwXkPexq+F9h+wA1NBGFUDk0PNCz9zXF66L631M8qmDLAB7f21jCh513/Fgsy5C1xse4y+X99Y0YJB54v9KPm/2/to2I0RKx/XUsTtfGpodoxIuh3G+DyOaH6+D/AEOiIZFjVhYaRb4vnwXAr2OP20rkkVhoykF7PasR3MaYciz4+p+2hd78WGIyn02kCggYcm0ieZrHAFhQAbqyB71qp/EPxDLnIUfAY4cA5BopmHHI7csrNj8gvuF8R9ZznWdQzYRkypQVSPx0XFiQrGnRTZ4pOdRc7PRhoqKHsfV1LSrMyhHACE85PWJGC8gZKDRqy3Gqxv8AbAOsmK04xLBu4lA0TBlN5JSrV2T47SNID1OJZVaN5W26SgiF4lcoFPcUnkk9UOcWa+AMjxWh9x1hpS04UpGTimTH1aByJIHaoLm/N8WBxpNrb5LRlFYLT8M7YEzSRljLOJFdWshsgXUeT3DwScapq86i6dINwJVJCYSxoKFM7G+wBe7tUk3XGZrxpZ6LwDEgUwHg8AMHBkkH53ZgW8BRwKqxqTpu33ErSKWyzEZDiyplVGcs4uwAGBBHHK8k86Ltu2Uwlxz+CN+mZVzShsVy7i3qfnI8AcAggm/W+miR0thHEyP6kfqiORcLbKQBVPiqBDZck2fA131/4Y3EEIznhYjwkUb5KwQ4qH4NdoX6DLwebTwTNGDHGzAsGaQnub2fxxXK2PJ81lofVFJxiq2yvzhjBOsSRoY3i5YoQceAoNI2dcEEk+3zkX5OmfR+vOIyodGzGbBRYyZWUlSo8UIi3dxbV5pVPT0YKTkVRWNCzi8ZAkb/AFfOKlQODlRuiO9rLE7qjYkAWvLKvFLQxOI7R4rjitK5pEmk78B8vTzv4kaay0Em4Y80DE0ocAYijz2L55H30/2iRwNBtm9IIUPOUvrGY40Q9GPEkntAr9KrSDp3UYlcAxRrCqkExRWrElZArY/5ZBAIY2DyTV6n6pIWYNI8SsncFBQhhHk1lzRRfAzF0L+h0YZW6/sTks0l9y2QfD01IwjVQoqWNmuQMaYEMrY0FNEff7DVe3fTt4cQFMbqMWPaQWCg5AZd0ZPA8HtP1BOT/GssPqHbSoxd8mz7rxiwBX/WIiXiwOH9/MvwR8fHc22+VQzv6alExVQFRwWtr7vU8/Sv11RxQm9qrOOn9N3+3libONkYrmMzlRVQz8ikxYZBRd0eedHx7o7zcSLUsEoRlSVouMVYgMrFaosVOJHP3AOrtuNtHRBFcUD/AGFfeyK1VOh9K/gIu9jIzNEAjOcY1oGUqCaCqWIsV4Ue3Kbc4KKSabfImmnaHcXOyzN6YQrCmKqWOLE/ijvOZqvlBHmtNukRxfg4rIkjumJkIza1f1CwBrwhb/f+ngWfouzO9km/jJYzEQf83sVitt3EH8pUVY8nydQ9c+KfRlRoQrKA5DjEh2urZlGYYAlOasH6WdIlV7mByvgYfE/pbeAGeQRZmlwUEMWNkBOCW9z+hOvK54c5bjlJFcXaknx4uh7f99WCTrn8SdrBk0ywmNRGzqDI6Kq5B2qiSDyTzlqvQdOka5YxG699wMSSUzeuCKxCEe55vjQw+APJYI+noI1tiWAo0gAseADZ/c6FPREYkEsC30Pn9vHJ86D3/VnYG6X/AGCCAAOPH09h9tQ9I6s0YExlBGJAUk52bNkVXHH99LkGCwxbGbaRyRQP6Ydy7c4vdKpAf8opKsUeTR0w+Bet7oNHJJuHeF1ZysickAcAOSAGY40Ca83WlMXxGJIWBW2YKquG8FjjyPJq7ONa5XfPCtxvWC9qnjwOAftwBzxprBSZ630br/8AEyNgn4a5DO1YFlYqQCprmuP0OmkuyRzbIrH6lQT/AH14x0z4xZFSJZ3GCgVdWAPm+/1/rpjuf/ULfIcYsZFr5nxu/fyQf7adaqF2lkRTrpiF8n+mhdl8RPLGrxKqK6gjsphfsfuPGsWE+WOuqzymicbxfZcv1/7aPfqbkARqsX1Nc/0FV+96XgAeK1HHugzOlm0xvg13CwR9R5H9DofUaLaNb53RbQeo+a3ZrtLDM8e+N0PrWpX3IAJ8Ackn2A8knWpGABJPABJ/QcnWlcMvFMGH1sEH/iNYxqfdYLk142Lr2sgWfsLsn6aW9d3xwVUPD3bh1AVQVWTk+4RmPj8uiN1ljHgbT1Aj13ELRQ1Rvtar9xX20N0rpJdcZSykGUEAgq4kAbMEDsIcmrAPHjkaVyLQh3DpOkmRTzTHEZAUaDA0f6X++nKdMUowdqUjGxZ5bt8VzydAdT352sMbUCPWhjZmulRnCsx+vHv7XftqrDrU8kMzQRBwjrgLLd08gmBBschlUCyB3i6qyjkdGnoXyHzT7hY5TGVcxbqoiXoFXhCcjkkLLIbBB8E/TUHTmlUuoYTToWd3LIcCoVAoQlSB6c5b/dFnmtRdOjlj2k8U/YryRIkfBYAiM5JjRYeLAPs3gjQHT94E3jCZgkKqCeQSzSbeNCcBeBpx5+vAvwp11SYftFkaRYSYyFk3GS2rXHKySqxIFEF45VoeAV+41Nuumw7dM2IgEkckHaQDi5APaSo7WGV88XojbfG8EUasE/GCJE9lRkkbNh3FgoJyJAJABaiR5K7fdH/i/UZD6hYGVVZpBaSDJSikFEJwuuO6x7HQajy1kyTbKn1CKSCVl/h2oeFLoRQGRc+ymvr48+DoAdXcl5fSjdTlIVMoDKgUMBRWyMSAKuyrV4Oj9wsksrq1qVFsK/OmBwVUB7balJBAo34vXG8gWR2yXOmxkBAuwo5LDi2YO3B+nFadSN0reCfpOxkzUzGJU4kdvUJHpu1NZw7GUd3PsQfY6ZpvdsriTbGRGVwsIc2tFsG7o7BHpgAZcg2OPGk525uEkWFvsAt+blbGNVrEl2pauybJFASbaaL8FZS4RRHGpyHaMlXL5eALYVzdqdK7aG09unJOQDud80m9BcBzmFoEFGsgAWSBiTQs1X9NN/SC+ukZV2OdJahiloF+WiT3MR7UAOa0qnhj20skkczPJtnZ0VomCu0UmPnwyhuDj99Ptr/6rPNtJVmgHqlGUYFgCxzU8UcSKFcm78jSw05JHV631UNWacPAJ/iMUm4U4EFlUZDIIWMjqvN2qqfAHFA83pLueqNj2k0z/h2gyGLANkxBL2jEAgg2DfNab7DYRNGHMuSh6sIwuvSLAdh7yXontN1wfebZ9MO6MKw4k5YRiRbCssPrHkLweLGRN3fHJ0O+TiK/N1YF5vxWxKgqrKaaTnziK7QBVg3fnjR3SN8Wj9SzmTjS2EFHuQgKeDHjYBPzACrJFzb4J2W0hD7vbszmJmOEsgJdcbQKZAuRJ9uONdSfBKTuDt849qSEApi6MpcyMQ1mmyAsHjEfpp6VUjRk07fAjWOFAuSMQRiWsFWXJCuSNQADSsxa+Bfmq0z6K6lZY5EU2E/GxXIMFMjkgg+a9MccYgcedLd506dGo16eMiqO0jtYQIWNUmagNdcWASC2m3UumJHtTLHTeiuGamRVLg3eD2ZKNuWBtjzQA0sU+Cs3GsZHvwt1YOJBJK1wenSuxA4SOQ815BKobHmMn3J0l631R0SMNIw3A255BZ6xaR3a8QMHCgZGuCboA6D2MsX4PcI1jnWR3JUjEUkUbOxBWMBODYs2fc6L6z0KVix4CCFRnlG2WaIHk/8A5CAhYfdv66z4onyyq7naGS4lQBpvT5DCyy2oUm/Jri+fb31AkjplEtPk/hCwINefHsLF8Hz9tWmHaFuobSJz6bTGRo1QFXjj9OULYPK2ic/cEe2g22rKQ6PEyhmZh5dI8QaFLQLWzMTbfKCOdIos21CjZdPUZSq3KNZWqxAkeiT+a8bGPi+dHRbVGWMqXJl8L8pXH8M5kfdCPHkH66j6RvjHCzo8YWRochJ8+JYOVC0aQmyTx+hvTPf9WikneTcOkMjoCgZ6C2BVUBlS+3Fk6bamgJ1yJtz0VQ+WLBak5BDHJVJAoXQ+Uk14NDm6StgxBCYHFQ1tkPUru4Hy2bNNzyPGnu3M00jpEnrDkMQoZSCMvJ4YnzV2a8EaGUyRMXl283IKC4S0Q59saxNjmvp+wg8ZRpU+CpQ9SIla3IX2H3J+/ihr0Dp8oGwkidFZpSjBjIRQA4BFUTTH3I7h9NVH/wBoktykZB9/UcH9KP8A1026rIR3t2UVFA5DiiTZN3QBrxwBrTkuYiJMhfYytkyJGyJ5F2QKFCuP/PbXWy2HU5wz7fZsY8iAQkZFjg0ZBZH6Ei7970J0lX9WUqWIe6LEg0fHvxxr2D4f6nHBtoo1kelUfQ19R41ya+u9FWo2V0nK/a6NQQBRSih9tc73demmdFgGXKvIUkKW/wB28j9gda6XI/op6wqXEZ1RGQ8kH6e/jRLNftr1rPF7mWNRk91+5Fft/wDupEgvzoiPaj2s/wDD9tKFIWbsuXjTEtHKWSQgWEtGZSa/KcSv6sv1002HRvTRVzJCqFFkk0BQsnm69yb0SNuv0Gku628pn3aAyAPt0eJsSYwxLK6eMbOK8E8Bj4uyC8YqsnUfQD6LWfxfUjLMPMgidVV7AAzaJQW482PAFWKRo0jaQmlUFjwfAFnirJr2A1WJN8Y22UskqLhC38SGfHj0siQnuSyXj7BSR41V+ufHDPI0sJlSCTbKzWFrFlHgWGDh3C2GI5aufCnVGLYy+Netod2kaXxE6A5j0z6iKUYAeTmyfMPC2OL0n+DviFFkWJw0pzPqYl1yxvFaJCZAgAZEGkJu24T9Xm9ZtqfT9IvtWQAsFcTJlHFkZAClMqFSWr2Hitbn6NI8O5waNDDIHY5sZCuHpSsGUlsFZSW8iyTdVal6pUGbrrrb2KYsoilR45qYFhUivEqKx/IAUJJyBZbx5ICHedRkWZg7ktjeQILepTFOCKK5gMaAsi7vnUhT0jMzELUDiP1Q47ezFY6Fepmh+QkVldUdddZRo5FvuCfNkSRLEFr1fxK8hfHHlqsFSRT3WuBk0o/Mzbz1HIwjtlVc1VWR1LteAAr8MuxITg8VZ1YOn/EboSVeRSpCo4BNxmTJqWrdQ1D/AHQKpq1UJdw4zU4liM3BQePw3plbsKqysQKK8tiFB5Z9PkJDSPkWwc3HRN4t6eZemkfIljbse7trwC8BXuwWDrPSz/Hum22ob1GJZ1rLFir5AepWGZyPtf01L8L/AA+snqmWRgYPRzCkBs8EtjSmzbNyTZKkke+q6vW5YgQrGP0oiqqDUoDDJFIFAMvoqSVskHg2ObbD1fdepP8Aw6tNCLLUCxkIABKNd3jkL92APubMavIs/asB3XtjAJlhykWX0gy4oXdTK6xZX8qq2A8/Q+5APkvU5n9QKiyFVN0DTWhAJy57sqN+3HA516b8X9PlZ4p1FsFGaLVn0Czx2GUH5mDFfluMc3zqqfF3w9LuI7hVXG3GUvdyWkPzKoNdqim4BpAea4MX2FnwmKJeiuV9T8QXC7HvuR2CNK134BKmx54PGhtk3B9RJBkKIWrC2AGGRrI4P5+/sdQs+7iQxpNlEwaMsh/DoqS4tlDBcWJJqq9+Nc9I+JHhVYmClAaBxBZRbMKNiwGkc8/zn24074JxlUrGPTN086MqcHKBVDX6ad5BZ2IpVOCWzWTVEnwbF8N/EkcE0Qdcyh9QyKWpWZBC0oWPiUsGK4jwEFZG9Vb4f6gzMIZZWSIuC6gnE4AlSQBbKDdj73550w6P1l52ZSMUaNsmIY0a7Bjl3U35j8wNHk8o1WSikpYZ7Xvkg3xUeorNt5gOLwMnBMZPIY9oteSOLA0D0zrboJLhDom5SIPTMXZ2HeAOKOZxcCj22RyR5p03dBZ7iZizOxshAnrrI8tCzQDAIC8bCgvuLOitv8Qgu5bAhJ/VUSAAGcJ8pPCRuokrkVYNCxwg+3sy8ybs/wAdCcysSybhGOR5czLuMaAo8Ko8jHE/prnqI28kqQo7VMrSsJCTSxth2gg9xYEUK4LEcAjVTj3AZMXixkO3LmRhciupjODWAz4DgVxcrXRFnmHf97bpQ0W4jkqKgCJAMm9Jq4h7COOB+JRBsHTKnyJtayh3/wCnkG2bayvuWS5JJSVJqMRx/hkUTTiwxyq6Kg+Bq/8ATo4/4YCB8kC9pBLUCMgODY4I4sHnXms3WjJstjCXSJZUHqNlGHMzcucSKHcxoe5YkihqxfC8kxhlWKmhfPBmKmgYkSIqq45IMKIyWyW54Fo6WQ7Wyv8Aw503cPM27khIsSCIvMQ+BXLMee3uKnwafi71Inw4rg1IYpppWjWMsuILLnI6j8i/mx4N+RZ1YW+G551haaOFJAHWQWGRFLGii4m3KKoyJtQ8lHnS3qHRpEG32rwxS7eFo7L2fWW7d3HPNjIgAksa8aW48Io3KTtiLc/BaySkLNDHIqk/w54d8LS1Jk7eFs9oAsDjSjqm1WSWRD8ykdp+pNcMPp4u64OrbL13c7qKPe9Pizji3EpxoKX/AA2jFlmAESg0eLtAa1fJkh3O19aVBXpljwMlxBsBhdEG/BrTtWQPGJNq0FvG4j9PuFOMhgMSavuNg+x4OrB0vf7ncuI19KVQKYOny2Ls0PPvq19K+HpYURpVWRCciMjSZ9xLLib5PLDwNFQ/DEaGOYIcgxPabA5Iv61Q8eNLWDWU5Pg3cAlWRHW/mBpq/Q/8NI5unIGCgkOxVxmeCoAKsB7CqHj7eeNeo9S2ySxyCJ2DtS9rV5IBPJo0CTQ+/vrzv462bOzvH2x2YgxvjABvp4yFUDyV+ulkqyg3YQ3w6VQOSoJFgCgCPY3oKuBbYmjwWA8Ej6/bQnRdg27VL9VSkeC3mvcS1sGUUQt/Kf5vfU8G43aAqXmSiaUJlQ9ucPNckfUnWjHuxWy7xrfvotEGounSRyIrobUj+o+xBFqw9wRY0eq66jzVExFH01J48D9tYkZPgaG6l1yLbNGJQfxA2JAGNgEhTzdsQFAANlgPOg2WhCwnpm4WeMSRsCrfuCPII9iPcaS/FnxG+xlyOPpeiS1qeHshDfgFmsAEc4HXnI61uWimEUvpIkonC5qApkJVKYfmWSMkjJQbJxrgMOufHj7mLcwsuJkYekUCkqpssr3w3KHkEkgiglHSnStOngtE/WP4np0e4OIV45Y5RJ2lpPSeMqAKY5M1nBhwOPrqizdMUtIFiEeGA5kyRVLUTZI9SlQ8fa/5dG9N6IN9t9r6EhCQrHFuVBTlpHhSQhhIXBJjDC1AJFjydKd06ruwuBxIdVBIEhAciNyrAYhuSMi3aSe0aDLQRN6yLDYhI9QzANgDX4kRjay1FrhIvK1s91+ROnTOF3Kq8io0SgyKeQGdXUSW2TENaUvnNya51Pu0YbHb4yBkZ3skxri4YkgizZBfiifJ4B4A/Stm8hkVZACkLOyNGzKcGph6a+eVUlqsWPvrZHwa3ziRIrxB7VHy+ljGQoUHEEAZMSfb1D55Jmh6wyblBgSPrO7KqH0wgQuoPaCCABfmuSSddb/ZlEeLBFKOrj0x/wDWUX1BRkoMAhBFZEp48krpRuSZJJldY7OQU1wiswvPIg4qAAR+UD20Ld2Ua0nBJWpd+KGcMBuOb0w0MilSWVm+VSuWR7+aRgQRfF8HRHSd2rko4haQoo9TJUIPqWxvlWtBeSjgWeRyLFtN/tNntA0SYyTQxsAJlZw8q0rhOUDUoIGJXtFAmxrXWPjliZikZWMxhS2N26uyOoeNWxVlFgMwu1o8nWrIq1JOKTK4+3e3AjIU5r+ICqlkGPyADGigWyD4I8HXEXUkjhkWeCyNr2DAtiGkxtQw7ARl8vA4Nn2Ih2bJJt4payWX/MDLIBFIFoBWUqQFZsiR7P4+YiT7g+pMIZGZs5IhaKHkxYAH1CpByLIbsGgSTXI1UC2y7xdflXa9NRVBEtK2WOLKyFUUkng2yrR5sE1xRqm46cYS6cySyAxkyEMsbqWjdlQjFgzE2GuwSOL0p6VuiYDODNEqPCqkG+/H8QBjygMbDEe4I57dEx/FEczi/VzVTleI7r7iWY8sSf11rafA+np6coyt57X9RH1xGiB26kGOw+Vd5JjVD3Xyhx8H/mdL5OhN6ayIcuxnIPBAUgUP5idWLqO6gaQfhu7VQCyKW4HjEG7r20u6h1BcYgiSQ40y+orU4ZxRBAsVywI84kea0252sA6WlGErkm6xV+V8kuLAtpHJECSKc5RkG/VAIXjHyAbC/XytVemLdAwPe5VaKnBTJnJTMyKIzynbRs/cjyAX0dY0/ElUM0cX8QCpag9s8YYmmoKihV7gTKCb1F0vp4EDZFzKpe4ngLRECPOjIBauwDdysCo/2jqsIbld0c+EGxQrMaLvG0W3iLESIrM8liRaoYIGIWj47vOeuoNs38SYM09ISJeKogWjkKo1ZwNsxqr5Hvrp27XcFHKj1I7YMWelDEooruMpsHlQrEvyTiDqPcbKNymRRoI4EEg4zVmV5FDMnEpLqWsZCl8CzqL9rpleVyMZdxGjHECVg57ZEqFcFDsOSAjdqmyT4JBGdaD2O8YRRembCxZhhEvJ5dlAFFwrOIihIBxY15szb9Qgk3ZfKPCI+XQoZC4K0UN2gVSCCK5UWND9I6QZ0Kx3NI7I0K2vyCXkEo1KQgZitH5iaOlk03gdXQz6ZvWEjMXVUVAqHEFnjlaNsB8wUM4KWWIpwFC0tMPhn4wO23EUcuCxSs4BXhc2Kngex9RmLCq7gQfYC73fGANGkapHSeoHGYtXZ40IZqEkbVz3Z2ee3gT4T3PpujzK7LKBEHW0LNMqMFLMe6OwCGFLbiguR0jTayG0uD29Tf8AYgiufeiD7f359tB9agDRE/mUWv8AtAeP0OlvRPiSKRJDkqrG+J7gQpoHEtVZDIce11qbdbwSA04FqwFYkgkcEWcSb55se2p221HgXbWRbsN3hE0ccaLlkz+QCSS7kAA93k+9k6S/CG+jR5toJA8BkZX/ABgXLnAuFFBsBVcAeTdtZ1ZUgUng0R4Ni7B4PbwOKPtzfA086ZMDwwXP60Lb78Dzqrl7tpNxxaCqBOPfX2JH9wb0snWHblmkZQCPB5ckHkgDmrr7abhDndflofuSf34/bUG92UUwHqKHC8j6j9ua48e9aoiB53u4USb+I2O6RQKMkchJbAfNQbuurq/H1rjSqPqLSQ7aJlWMHcqWOTAvTF2yIII+bz9SPNVq3dS9TcsySQhFmlSONDRkMYKtMxYNS2ikYjwRySTQq3UPh/19zOEIRIbxGTcsfmGd3+554GjJJDcD2FUBZlZ+LBjDHG+OQPJ/XzqbbzKgqpASbORBN0BfcCa4+uqj09WglH8RFGVJ4RlJk+xF8f1P769A2nW45EDKhrx3LRH2o+36caigsrnwbs5NrB6e5xzytcPBUi6P+sCSL9wE+lCyv1CJGRXaNDJeORonEW1Enkgc1rieIBHJOChGJayMRjy3H0HPGvIOtDdTGGCamm9NaEgPcU9R7YjtAeInigzBUu2GWrWQjHdlnpnwj1d2aTbbl19eOR1UWgkZAA3KrwWCspLAKCGHHk6i+Ofh4b7bB4GDSxMyoyEGiWCv491dBx5FEfpR4opW3G1DuwmQKFkIdZGjCEohSvqmHqVmQwJvGw56Z1CeCPqZBeM5LJDI6ktIxObFldflAGLGr/ENHhdLyX2UxV8H9CbdQOE7GBMcgMalSRTK6vVKeczYU2f3g690k7GSNfSrOgpD5CTCu/EilOUl3xWRBFeWew6h/wDMEm1SWCHdgdkbQ90lDuGRaNCS4v3o+xGrf8Z7JDshJPHCDEysBNJcYs4kMa7zR4XmyBoNsssStnnPRJ22zJJIrdkzJIWLUVEazKuApSp4+Y33EixxpR1rrLjf/wARtPSsMPTK92NY2imgrLk5UVVhq8jje9ZhFCaCh1fAIgvjH1Bxxw6VweKAF0dQwSAieSO2WMxu4NgW6uj1VEKSQf8Ac5JuzXSklLLF1I2rRZf/AH9DMjmXaNK6jwcSqSc0SxFiiL8A8aQbbbGOgsoWV4+1ispkkWYiPFirCjZ8gHnKzxRabtpd105ZmjJxxUSKVdTjaySvGyAqw9Pgo3/2fbVegQYP6gyURlaq6YKQOQT3gOwUnhCycEeNPzd/ahk49o15yG9Mkl3249MLk5QKcvTUIEVwfPlu5TyC5IaiPIY/D00kdpJ2w7gyRzJKwC3iaYsB2kspQPXcGA5oaS7TeTYtEQY45Emb0+LsrmXf8xNIFDMPrQBGmMe2PpxMxyDZDLtyzZ3aig5x7gB+w540q1OllK7waEY60+m3WLRv4hatwY4wewCNFjjcsqwMwVASC1jIAvVMReXnQTThMY42uNlaYhAAkcmDSAhSuXEUSNiWpiL50b0/qypT2qtKcBI4yIAIckH5s8VoEc2eOaGgmWVxB6MiqXTEqeIwYyUNccqAxYkmwD9uZrU6mao6NX0/Rltu+CXpPWZpAWUGhIGEhZiVkxVFHqVR5NhOOGa7A0d02MSTxxjsjENn8qo07j12Wl+XE2Aa+QAeToKXaEqVVZvSaRmmLtGLKA2+EfFE8fmHA96Ot7Do77gSCeT0pVaKJlkZKlICVbGQPl4PGVVQ9gHOd+CTYbgAwhS3pybhm+aQ20bB4xjHLiHRQBnQ+axeJpluOrvvPTjhUeskoRHdIhA4ckAP+Fziii+R70DYGlGxiYNGHchY2ZfwzgSHvLvC/Me6uD4486m2O0yaSOGMlwySxrZ4UBLYUQGYAtQN3R+oBXcrBXYN33Xpdn1Hcpt5FitlNRpG6onzCiynBAW8AAgVxwNJOt9Xn3UUrbm5ZY8ULYItXkS+IUE0FGNVxISfbVp2QU7ZZJXXlHd+xBJ+EBEM2r5RjZ9yQBdAgon2iTAO1hxMY5Fyq4wFkaiF7QxLCyGINe1AM5WwUksgvUemyRbYxtzLKNrDTkKY8F9Vh/LiAIxZJqybHI0rXdusKGGNkANsA34bkRC3NENZBLWKxyI1aN1vEidJYzGDA00wEsh4Mjmo0BFMDQJ9z9rJMXoXDHuJAAWdSFE/nJbUhEy7ivBDRilAFAAHRWpSrkZaSk8OgNyPXphLTkYshfwGQBqFgByvcaJBfkDxqTZNkc41xKRusORRYS4CsxK13O6S9vPdlyQAaI3WzcyMqp6iSqfUIIWJm9SSaNcwSA1xs5rzQXjUXUFhl2+3jhiWP1WlEchY5mSywJJAbFnYIvH1JHA0n0Gkq5AN7B+AoTFTIkSMfUpywzUtwQMTfOYPBADDnTCXdbhDEBGyXAYoVW8ikg9QOsii7dVL2eFsk1ydQdX63EHbJpFxUIuC42uJBTFlFgNZz8kSt9gOoIWO0k3FlfxlXbvkFQ2zK7EHiNAPF0MjQ8UTVIXdk3t+oBIWamUtt0Xljkxp4jNyCoLFyo59ru+NCSy5Sxicfw4lQJKQrHONVC5FeGQAooryLJsg8u5tiU2areZdIzEqD55ecXZwcmGZL+StmgdLv8UkdJ4z2MZIliydmQuJD6jmRgclGPuaA4o+SYuOb5DJSxXBGxdFn9aRwkR9IxjFsmyDRgUbZVWJO4qvIIu7Gpd/t44IY5Wj9SOTxIAo57rXAtlxg1miPvzrhoPUaQr5WLl4kEls5CAoQQzW5JL1kC58itQy9HMbQwg+pkiyO8RMhHBYKAEtfF1RJsXYFaCnQHDwBbXfpGcpVyUk0F80eQPmHjgWPOnXwt8RGLfJOqtguRCP9CMCPqCVLc88/bQP+FiRWlET4RyBBWbFLBP3YgUASf5hyNDDaqsyotBucqa8SF4BvwwyYEexBGi2qErsfTfS+px7mJZYmtT+4Pup+hGtwbZyX9QKcnJqie0cKLNflHivJOvAOm7t0fFZCtWD3NjbDHKgw5A5B/1R9NWzp3V23G7jdJHwSWFMbfxHgGsH5rALE1zzpHKuxuna5PTetQRLE0rop9FCUscKcaFfT2Gqr/hDxbGN82QumbkBSyO/cO1gQVNhGxrwD9dC9Z6285lh9LON5UW4wWkQEnJHA5BwFiv5T9Rdln6ltZUKt6qjxRTcJ54o9oNf20yyJOLhhlO3W68pKoDWCGUDG65u2Wr48H3++tRb7dRdqKuPse7kfXtPP66F+INzHFKsSMZUdQFc9pX7MaAJHjI/8tKTunHasppePav6GjY0lO6oB62rfcD299Vv4w6RCu3l3IVRJFHkhZmC5qxZBQ5ouxFDzlXvqly/EsW96Z6M83pbiJ0aJ/z5R9wZO4U2Ni7FEjVm+GviGDf7dtqWlDlCozI9RggAZ1mW1fyPPdyby86q1QsY9ysdQ6usmyj3DyF5nkaKY3RijUhqUoiubV14BJqV696sfxHvS/Snkf09wTGhT+HZlYIzYCUA3mVZgcSKJBBPnVN658NS7OHbKMXfbOZixjYM4Vg2fki1sRkeWAjv5BpEerzxqgil5x4jXFs3ZgPS9JfJBkN3fdmfmAGlLUmsYCtruXh2wdTLFJHuWbMoCpBUFWxdLEhMagNdc0QfOt734rn3SIHkeQlmjVOxh+IAotQoDseApNVya50u2CMVnjd7jaONnf1e0MrkgOWZQ95UQtmyAKJNcSdQIjk8oQzeVAUOSoBx8tIoGRZicS9+eW3yH4yND1hfTjSRRGVUoFAdmWaR5iWsyHO1KFgSaZiKXSnZloVnjdqXCwCynmw5agTZxSiRda52chZHU9tIG8HJgXTEkgc4kLRAF2ODqCWMRt+I62B8rEEsbalJDWoIC9x/n+lnW5wZvaO9vstxtw7ruhijBVgWSRlZ5EyCYJxkAWYkCrQ8g6wo7ONuu1EjHcSn1ZAyI8zWKrOqqqtsr8UTRAbpJ9XEhvQLkhowzAxqrFscmGQal5L2tHxfMkm43MqxL6zn1y0qxBSB6iWbDUAFGPzZEjEE8c6eDi1kzUrwPdj8HbhZA8sbYwIy9jI2ScoLUG/lJY/ZEAo+COpbRBIMExjIYYh8TCgkYWqlgRK5VlBsUFckkXpDD8V70EbV3c5Ni0ciq11+VieWQ+9tiQbNjQe4Mn4biIDGNV8XgFpmHaAaxYWPNNR50jafH5K1tfKb+RPLB686TFmb8UOAFohVVZJZZFWwi8pZVgRZON8Drd74Q+lFgWEEryAKoJSK8vJskG7YeL4J41NN0aXaSiJzHOkzgFQfxWQnGN8Caj7gD818LdUNCpHgscqxZwh5jlRyCjyshUWB4IDL7L48aFrsIrvOL8h2x2KSQTMv4ipKFU5CsVKyKqu1sGtnFsoVru78a2W5SKYhkctRkjGZUhzTQoyk2QlkEAg8tZPFD7Hp7vFxGkULqGEhoqzB2Z29RawVIlZcG8ZDwXGoOp7ZiJWZRapHJzioxkJKlRnTiqrHPx71esZulQVudqZNqkyEByzh1BW7XHtrhsx3GqquebLMJC8iGMo2MhXgliCB5yBAsEEMOL8gjRGz6o0W1FMGzlXI/KeY42rEMMyptcyGPBqhrIJ5hdyRoCWbmQfhRqSGYBbLp2hQTzkKI5s7bbyQynf4CY0eaKaSFpMckXvpiCR6khwX5QPUuhfggk+REJZYUijxJdS18HhixHN/7N83/TU3TJsCyZMLtgzks2ZVVLMoouQqmhxybF0LkChWZQrOWbtZO3mw2KyZZOVoeAFNe/nSWUqL7le3cLNI6+mWSwrM+V5oVEndfa2d/fu8V5d9W+ImklhEyMACS6JxiFHZgQvaqgquQ/Knn31Bvowq/hoGFBhGcmc5cBji/P8AtUSfrS0IP49TFSRnInJMGXIUlYkA2UkZ7K/rwKvVFkEXtuh3LupPxaiYYhDBeIwT0mRcUUlR2uSfqMC3NAqthvGbbGF8o2EqqXYglWkdmaw7KYipTJiLsE3Xza1tRMUjY3x7R3m7u/pvkvBaUNFdN5yBJ45yLpon3EvrPUKSepJlIBwQUBAUm3yUIWBPze2lwWW5q0dbgJBuzCIWklkDQ1atfqMBG8Ttfzg1X0f5jfDTqnR3hhhhnLxOEaT08R6eFsSoKg5PkVBp/BXtHDaVLvktZIY48omKxBo48WLSO6B4+RGUJZVYkEkjk1Wo99FLDnBm7kJyULvGWlcR1nXiolAb3oAVp6TJNtS7BA6oxDSSiV5YyrTFi+ca5dig1+GSOARiO43yNHdRd/Q3BQZmWnD+mFAZGQlRgSyquYKgHzbEnMDSr+GEMe6UoBI0vpFslXCIx3woLKYwVIPPPbZB8HEesXgeSPawWhxdlJZlxCYkgyFnCgF2NAAWSBjpaVjqToI226RVeVAxm3Kyqn4vfgiovAo1KJQVBagVJ88g66LDMduZAEkLsEcFvliUYJEMTiHBLDv9ifPsH1/p8yiIDamMq0ah2ezkVyUEAlUvhrSxRQGtEbbpMke5l24LkGYHllpiQDZINg5V9Rx+p0G8GwshvQ+jzIZmdWVkkJjGB9OyrKe2OzQlKsKIBw9stcdM7dxLNvIFmMmd+IwJKVlIYkUmClKsnleDzY0u5dtwUujwoOR4I9mNVRo+9EVwfGtP1VzKec1UgICQeSSKx5BvJua8AXqe51wS5yWLbdM20uxsi5ZVOLqlViBHI5KjFQGPCWcsTWV8GfAsmz2m1IaCU7ko8pDRysoUlggEigqiEALkaP1rVe6d0x5dvLEajEKN6ZIyLS5CUluCVBBKkKfN2CfLfY9WWOJF3cjrlC0XYbUGalNohIIA58Gslrw2mTxRXbi+5L8Kdei29fh+u0XqEPGRkECBRmWrEhB3fN49rrXqHw/1htzF6hheKzwH4JFC/PNhuKIFVrwfcbNTPJu0iKwLuDgoZUiaJXkhAjwBYmgbAI+U88jXo/wx8RxQbYgTbg+ngrRywtcRLBMQS2PDHxkWo82dUS7EZ+73Fz6xskkWmiEn6mjV+QfY++vOupdKi9V+2OTuIB9QqQB24kChfF/73nXprspJU/MBZH2Ni/64n9tVXrOy2iy1Lt0LUO4tCMvvTSK3m+SPIOiSR4MFIsqHCigSfIv7gUPBoeRXvWj9t8SttZ1mgxQqGIS+ACAPT7vmDHnj3JPGod9vFlQTGHEs7kCOZFjBUDJjFgWUG7ALi744GlrgSLYP6H/iDXNEfT66PJTc48HoXxP8aQbzp8C8zP6mLZCSL8YAY1TUeGYiy3yi6JB0kbr5VoY3CF9uJQk0ULM0fcFWQ18xuOgQFPPd918kjKtUpR5FkVY7HabRXWOjgO9qUjI2SQaB0qXdvllmbyVkYuMUbIvZJ4u7NHm+a50uClYJd1EzlWCMCUUKSxESswJlJJsUBldMAMWJ8Ea0kKOm2FpiqyWFR2IKuSZXAFtnWI8UAAaAvRjbkOmMsglp7R5GtVC2XkZRbMXNWCCTiSCb1x0d1dhjElorFlAILkuZAkar3M1DAZE/MOKAo8mqgjZbXFHWZvRLYBMyoYD1M1DQ8MgbBBmRiASb7joHdRRRuwKKrOe8yBmCqwHKqnPcCSLo8g8cEHKjs0800fC0DFI3LSp6eTfQjgsw8AuF8eB5ZMpWAVGtpFRqpWSTIZKuOUhUENlfAVQANI0FpMY7uZJPUj24/DZhkjKVhXHErIbjDBiqUQS3nk0L1N1jf7fcPFBstv2Ia/GYgEBLJJLkYFQ1NxzXHjSibbJHeLBgSy5Mvc6+CVyFRoGAa2I7X82DrPiDY/wsyII5FZUOT5G2PNDgUhRGUEDn6862nFRVIE8dwrr25iVI5BGwf8KSVCmA5DRlQW5xKrSsooA+55C3cTKk8aMzosRxZkbvViS0rA15VmK8DkRjXXQukrLuNuMi3Kvl5XGNe5SCMvnVUHtXjWtltLkVcmeR2ckEcGkLEE5d7B1XHjzfngavpTUHdCyTk7C+oSYRZlEdKEaqwbJQbbNCGFHFK98cqGmvTJWi3LelNHHGUkEiRqWWNQiyylchXpEqO6zytV4qmbhmztuPSoU9mypJrkVXFY/oPHh9s2PqBiEaOOJ56j9PhXjzKm/mZTS4t+WPxR52pKLVRVDwbk7ZDt9z6m8R5hn6gNkLw0sgIEjAnvNOG9i1AcHRu9LCKFSyvhGHDkXUbdvgjjlWpRfnkjwBR1JnjaCS3W1YkjFjS/iU0g7GCA+aFr4PFm7LdwyHdOUKQpCWEauTiz5IkIYqcVJIBIq8BYIvUJWGDTdeQKPqZC2yBkZ5FIwjAWV0Xuyq/JF2OQK9zrIpGMdwsjy5qwqKse4Dz6dLbkgWRwb4JIEHSzI0QCqSgaRmvCs/TpgMgb/Dw4otdlRYvR0MLQzOqUU7mB4A5ziT5+00Hb5uOTfm9M8CJJp2FdH6iTvvTkYMxcDPkWWpTdMGHJBWjd1q09X3wVU4BF3Ry+QGkVvm44eyQL48aofQZfU6mjysopnlLeEGAaayAe1Rjdc1QFaum/iLz/iYsywIpYYm2ZmcscRichi3HBux7HXR6fRepJRic+rqrTi2+CHb7yBlknSGEOGjRioWnckl0y9MYlrHnEGuMTwYBJs1cjBQ3qOnpxyqssZFjgqykg0RVE80wHuUnS4sWBQdwAYC6YLVX9QK4+mhZvhbbMb9Ojd8O45+vDedeg/hur5X/fY4f/R0vD/H+zsdB2n8MqlGJeRO5JSQGrEBo/WLIB8tk0KscDkkbJHftMgdO1UJUxAHuyTKMqW7iRWVlvm+o7fDsQVVIYorZhC7Ylv5jRsnk83fJ+uoofheONSA8hDckMVIujz8v3v+n0sFH8O1fC/kePxHSXDZPtemR+hHGZGAdmtW8vJyQGbBfUClTiDXF8EAa5g+H5Iish3jGRZXMZdUOLgqkiP+JbKQQKSvP1JGotp8O4Mv/wAiZwpBxdrU+ODVErQqiaon66edXVZlK2y3K0hKt3d3lDkpBW1Uih7DSP4drJfp/I8fiGk3+r8CSDpmSzhhC80rOLJwj9PnsURsQFsEglhwa4I1INqZduqYhJY3ctiJcZFkUrI5DoMpTi3y3QYmqJ1Ns9jIiLGZRQVvlQYlryDY/lOXJo0fp4qJtruGhNlGdQFU+wClSinFQQoK/Uk39qM36LVX+DKr1ulzvX8E3xLsJWaOWNIpFJje7wLPaqRID5sqI/via5PPLdHlk3SyM5hGLMpAQk0R2rywaw3d54sVzzztJZ1LGSCJyVGJWRkUPVElBwynk+1cfroqVyVSsmtLdCTiHLC+bN0CaNeODdnU36PU/a/4GXrIfuQm2HTrXCSCUD55CA5PzdguzmxHNZcf00Ft9mUBwj3CU7LbxRX3tipNhZKojmyASKJrTv8AiiYijRNyaCmMMoWzxQGPIo/a/tem/wDErOtq+KqjWXullyJVytKVxIGQ9wV96OoPQkrw19UP1VLhoq0U3orGyIjKvm7IfiyzBTyxUXkbr28ak6/Cu9RBA0duEDxrKva1hmKxyOGKLkR7WQfHnQXVYp9ssa+m6SS2zIw5YBn9MWLsnvIBI96sc6nh6pHAU9WF0kx7sVjCk3xTC7NWTfNjyfGoK4rgdMcz9LgjgjSKbBdvI2UcrKpllq8mZW5bEcUTxx4ABWdD3EwA9NnUyTc8qWkjbM0vaxDjFiQeBjfFkaD6tP6qkKjCNznZJwLd3dRNFqUi/PafpovqvWoY+nbX0dsU3CAEv6dRDEY+oFf5ybDWAQG+b7tHPI++uOx6l/6d/Eke6gcgsJRQKyGzgsaohDUAysFL2Pdzq1yS2e0Iw+t+/wBPl18+fCO33Jgk3EcYdlBKRnIiUO/eQoN4Eqcl8NRrkAj2zpe93fpKZYtuXIu45ziQfFBo7HFe5/XTquCMk+fJ4J8MdVj/AIXfwS0C+BiHIJezERV8ghuQTxZPtpeqGONVMbiNcrfHt9RiATmBTfKFq+DxrNZoXkqv02S7a/XDOwAWN1piwAbFlHyc2S1G/IyvXG224JMqGjt2iYljTv5dyrY/MDyDVBTZPFnNZpmHTVqn8wbpcPqTg0UiRnlNUzBF5x7j7CgSxrzZ0yXbxYeunDqLTEItguO9kFYVTIAoJJVjdVres0rYYpIYdWtdvEko9OVoJZIk7SXhljYLeAJSS40emoFW/mGq3toiyukjC1jXDzQSQmRms1iCvbdG/UUe+s1mmqhYtyZNJL62cjSFnLIRyQwsMMAxFhFA5a/GIA1x1Dd+o/agVAvyqpKgjmRgPC2RZxoUAPbWazQCMOk7DJdyWN+qoRfymR2UbmgaNfIL8JRBPtqP4a3cyLM4iWWBBciOFIxelYgHy2K1+g+us1mj3BeLOpdyajaKFfSgObo5IjYq5EbuxI9Ru70qHP4ZBu9DdY3RO4meIs8bKY/UHi2F9zAYk+f1A1rWa1CqVjPrceDJGsoaMsIczF6bmM4jI4t3x9zCiQ3t4OuOudbwdTFDDtWdSjekArhclNlQPwWIquSaJsnWtZovmhmtqtBvSPhn+HA3O5aAxY2AwZ5MziFBVSMTbEFrYDA8XzoXfTn1lMcZWM0I1JByQOyHF3sOeQbPF37DnNZpHyUS9oX8PdPEE0sk6ZhID6i2i8TMgILf5asEZrHjiq8jVgVV9afEswV1TJjy3pxol/Y0OR9b1ms16Xw/+6vueV65/wBJ/Y6La2XPvrNZr6JHgvgxZiDfuPGuktiB9dZrNOkTbJZF54FDWpP7VrNZpuwq5IJJhXg3ruGTgk3X0vz/ANtZrNTZZPPBz65PHv8AU6kgBIJ+n/n76zWa10ZK2cSxZWCSD7MDzWu9i5jcV8osMAeCpFe/F/rrNZoamnHUg1LwGGpLTmtvkB+L9hGIxMMh/lBpInIX5SsbleV8MyeDWV//AGEijptjKkkjySEIGJIid0D84qz3UeYHnn9ONZrNfHyj7j6mGcEG2mkDRy8MIqVQfGIYtiQtZAljdnmzd6fwfGQEhk9H12nVoiJyGxLNXYVALL3UQQLHH31ms0haqWPBY+mx+ohT+GCSze8bCPbsYVuyGQYRY5GrHhio8k9y/DW6kCeru1/DQIgiZsBGvygNGAHAJPcbP18azWam5OOUWj7nTP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9" name="AutoShape 12" descr="data:image/jpeg;base64,/9j/4AAQSkZJRgABAQAAAQABAAD/2wCEAAkGBhQSEBQUExMWFRUVFRgaGBgXFhoeFxoXGhkbFxoYHxgcHDIeGBkjGxgeHy8gIycpLSwvGB8yNjIqNiYtLCoBCQoKDgwOGg8PGi8kHyUsKSwpLCwsLCwqLCwsLCwsLCwsLCwsLCwsLCwsLCwpLCwsLCwsLCwsLCwpLCwsLCwsLP/AABEIAKgBLAMBIgACEQEDEQH/xAAcAAACAgMBAQAAAAAAAAAAAAAEBQMGAAECBwj/xAA/EAACAgEDAwIEBAQCCQUAAwABAgMREgAEIQUiMRNBBjJRYSNCcZEUUoGhFTNTYnKCscHR4fAHFiRD8WNzsv/EABoBAAMBAQEBAAAAAAAAAAAAAAECAwAEBQb/xAAuEQACAgEDAwIFAwUBAAAAAAAAAQIRIQMSMRNBUQQiBWFxgaEyUpEjM0LR8BX/2gAMAwEAAhEDEQA/APTxreuc9Znrus4aOtZrnPWZa1mo6rWVrnPWZ61mo6rWtc56zPRsO03WsrXOetepzrWaiUPrPU1HnrRbQwNklz1sHUGesz0KDZNnrRbUOes9TQoNkutYjUfqa0W1sgJeNby1EG1megwo7L6jMut3pZ1WckBEJzLDwa8FbF/odBtIKyHPJqJn1R91NKvP8S/kihI1+/t9ARWmfw91tR6gll/MAob2AHPtwP10LHofTtxpN1hzhXNZD3seL40x3O/DBSrAg3z7HVf6vugPOI5Py37Cufprn1E2ysHRB0Nb3Uf2yb9lP/XV19Q6qnw3F3LKObLJ4aqADEilNmlPF39tN95upAeMlGfP4RrEFwRkTwDh83nuGjCaiqZpR3O0NQ51mWqTvuvTKHCyOCIyQQmQyJEakn2pmBr3rXW867KudO5xikY0gY9qkjz47q/U0NP1UL02XO9Zqi7rdM7wh2LEfNwT2imfgEAcA8nx7aBhndUgYM4lcKAQHbkj2iLVxfg+NbqA6bPRDz9TqTbpftz7cf8ALVFl+I5gjuJWoyOF7fy5lV7a54H9ddp8R7iPNjKwKIgsoF7sAzHEggctX9NHqYB0y8bi1UsylQOSxHsOdJx1qBiAJFJJqvezqsr8S7icKsk5dWSRmX0wnaWEaDwLFpJz75fTS/a7weUK36qKhCE0Rk7HPwTin9Mh9tCOpRpadnoQW/GuaHvf7aru038rSKuZq+eB48/TToufrq6lZFxoUjrMv87fudZ/jEv87fvoQqv1P7f99Zx/4dWs5NzC/wDFpf52/fWv8Wl/nb9zobiuP+f/AE10v/nGsbcyf/Fpf9I37nWz1OX/AEjfudCmRR7/APDWerfgX/XWBuYT/icv+kb9zrP8Sl/nb9zodSx9q116TfXQNuZOOpy/6Rv31v8AxOX/AEjfvqD0T9dbCH/81jbmFL1J/d3/AHB/trn/ABGX/St/5/XUSbNjqZNl9ToWbczX+JS/6Q66/wATk/0jf21MuyX3BOpY9jfhf7aXcg3IGHUpf52/tqVeoyV8zX/TR8XS74ofsf8AkNF/4RiOSv6ENf8A/m9K5odKQqG6lPuf7f8ATU8Jmb83/D/pouRlS+5bAugoJr9DrJurqg7nUeDQHJ8kcKLPANaR6hVRkztNlLV+p/Sv+uu1Wvmka/YAeT9PGg//AHRAcR3MSRQC1ZNFQcyBz/T76HHV2MsiRgPHVEhEUEEmlXnnLIfN4rnybm5t8HRHS/cNttOr+7eavG7P0HP20t/EaV/TicLGSQ7ISS1A0ADybH19h4vRkvWpMBjzcYAPBCkAksFwojIY+/t7aE3PxNIIo4y6lpFAD+qis1i+OKDVXND5hXPhHKy+xIUdW6bIioDChdaIYXkRdnJb5u+fP9tAnee8qqMSOwg/JzlRsEefYef00/XdbgyZCTGRSkOJlyUue7vNAKxQBuKsMCK4Jd7D4fIUJKIzEQ5apHMgcmzUhrsoV/XSbmHakUs9eLRx4JGtKcxTcEWbsLXP09qPOlHWt9k1dpPd8pU+T/qk/wB6Or31b4eSIB4ZsXxJQZVkByeSe+rFj76qm7k3BYmTI/UqiK3HsH9OxRH/AB0N1A22HfD3T/w4lkQglXsGPnFiyj/678SDjKh71oqbftXGQDoS1xuoIIVgLvEG5Tx5NN/KdJl69HGKeOZyBeRxkOYYPTWAw7lWjZrjwBrn+Niz7KGMKqowZDiZD+UnGqjThRY4s9wGlu8jJVgAnGUrGvLwpffQFtM3I7R/lj9xf0I+9fOaSiOFjTkt+eVSeBxeCNR/760z2wsEfiSsSM7FIqJfGIv1GofY+44gi2hTtlWVWMgNNkpIVHAsMBwfUP619tOZk3VpVaR7I7YXA5aspSIBwv8A/b5131GdRLFZ7Yg0h7iP8pTILrzyv6aWbeQh8KIzkiA7jfaS1Ae9uEFasG0+At+8kn4TIGTENJIighpELcAlvkBHIHn9sZindxD09vBdZGND3H3oHn5j58+db3u7B27MpJ9aRmWjZPqOSoF/YgAf0Grts/8A0vdWWSWdc1s3ZCiwRWOIJAvyHF17al3PwPAkSh9zMqqAp/hYyrEWBWRzmr64sOLvTInZTQrRh1c90ccafOG+WMMxPupzZuDXgag6Oe2O3J4kkILggZsIl49uImP+8dXuH4K6TtCCYTZB5llkYEe9jLH+2nW2i2rRlYEiAWl/CRBiV5xscgi/H31qNZ5t1HdyxJmgdfqy5ChX8w8A1rafFe6of/HPIv8AypOR9dWmLqe4V8GCOxDUzHt7Sq8sq9oJewCLpGJ8Xo+DrsxsGACjVidMTwDYyo1zXIHIOqZ7Mk6fYrQQV7frraD6G9No9ov0r+mpl23+rx9a107jzRONqT7H99SfwJ+n76Zkr9f212P00NwBbHsP/K1Muy/8rRwiv8xGpPTUef7/APc6G4NC70K12Nmx8D99MA4Hj+2tGcD/AL624NAqdNPvWpl2QHvrZ3A+v7DWhuSTwvH1P/TQsOCRNsPf/wA+mpPSXXHqhjV1XJUcfUDzzXB/bUsZA0ljGomU8BTwffRMUxU8Af11rbRlrth54oHx/wBdMdp0cH8xqz7f1vStlYxb4AN51JwjNkRSk8ceBf2+n11Xd98VIAxRizGscqAJ4sgfMfNfqPvzY/i7py/w2I/nQtzziDzx7nmxfuBqjHpLKmDyI8lIzY2AqsoJcXf5QBX0x45NRlPODu0tGNXIi3HUZJGBDHLAjj2UAkg15N354HnU0m4yA9OIytHTSIfAUBD2kn2Yn7gHz41xt9iwZC1sFyzVrLKoJS29zYxb2r9edA9b6qPT9NFDEf5jAWKPgAkVwoy/ViB7abS097t8Lkrq6iglGKy+Bu9vI8e277QqWN4pxkTTElT2lQB51Jt+ott1WqHpgBmkNhghAON3QyrgAVR+1J+lbv0FpoFFtTKXtWS6Vr/LICx55uvqNM32LAZmUIj0CrPdLYtMFFg4k3S/YnSyneFwNGGblyWBJi7gzuIs1KNx4s8eeDYy82RXkaA+It3DEsTRiKR45UlpiK5UhEq8rqieOOONB7qHBg24f1UclVMYGRZQxTOMXQAUm65HkeRrvq/RYVRV26uVWNuOW7gitWQ/lZxkPfyfB0kngLirqw7oHWQcJvSFygk93B9P1LaNWNfmxs1yovTodXikhkdnEhvBVCmwWtVIWuQzWQxFfpzrzxNvPFucZSqQnPC5F9MlUVXAdgvulkcAYjzwdPU6Tutqcty6SpKAkeMb130wX8MYggISC3F0L0sXboVpVZdd103bNkWxOBGTOeA2NA2eMq8j78+dRbTpykI6qrKQC3cCwLXlRHvyPFDg6856A8IkMMhLKwUj1PZiMglnzVceaP8ATV66Jto0nQKwB5NBvYX9+RZ8aarQltCL4j6QnLRgurMRiEKspBORNDkXzf0x/XVe3XTJArExlsPygH1PNAVVjm7B+l/S/VfiPZJLEuURmCMJAqsAS6kY8/Xmx7duhN/08SUscBUqxt+0Hniw93Xk/wBRxpZKsjrJ5DuZWdGADq5awe0eLHJvz8v99GtuDKg9WMFlrJ+TkzEAeAcB54HkD60NXLr3wdizEeo/vmqgUPuAbc/UgA6UD4aVwKkWzVUwNEGzYqwKBN1rOUkakKR1ASbpIpNtIgy9NXKtIlMTVA2RZoHjj9ORdfQ28s0SbZdxAWdTnC0ixUp9RkZcgqsfB7SeaOq1telHNXTck+m/ivcc8XxX3+/jTX4Y3A2USoxWZxLI7yF1B7gAFv6AVx/q6MWJK2WqbpMwkdk9Nkw7FYMXLBfDNkKBP2Ogx1TcRtT7L8ygGOQH5uLplFAHzzrW6+PUWPIgJxdZqeAa/Kftx4/XVa6r8ZTfwzzq0Yj8gE2zEyIlYKbQGye7kBW8jnVExKLfu+vRqAJc4siVyZLCnBnuwSAAqk8/TS/dpuVkpFSRSwonKPisibOV8fQeSB9aR/BPxIN5OqyQsPVuiguH8MFqYs1hyCfAqgBr1E6zb7BVd0UaPcTlmB28hxCm0dGQk5DEFipJGPPHuNO4vhrNQzyzIxAJVWUBftQHtpyYV44HB+mqr1j4tmg3EkbCJFBHpl+WdCikvw4oZ5rRH5b99NbaE25YjMwP5v2Ouowfqf3/AO+u02g+p1J6Z9gdXPKo3HCPcgakX0x5cGz9H4/YajG1vz/x1PHtvYDn99axkSwrB25P5v2YHjz7ke49tbk9JOfTXEmhkXs/fyNRQuAa9Mv/AL1f8tE76JJACY1Rqq1bnjxfHOptlVlYOoeowgikBI/1aH6nuPGgNwXkPexq+F9h+wA1NBGFUDk0PNCz9zXF66L631M8qmDLAB7f21jCh513/Fgsy5C1xse4y+X99Y0YJB54v9KPm/2/to2I0RKx/XUsTtfGpodoxIuh3G+DyOaH6+D/AEOiIZFjVhYaRb4vnwXAr2OP20rkkVhoykF7PasR3MaYciz4+p+2hd78WGIyn02kCggYcm0ieZrHAFhQAbqyB71qp/EPxDLnIUfAY4cA5BopmHHI7csrNj8gvuF8R9ZznWdQzYRkypQVSPx0XFiQrGnRTZ4pOdRc7PRhoqKHsfV1LSrMyhHACE85PWJGC8gZKDRqy3Gqxv8AbAOsmK04xLBu4lA0TBlN5JSrV2T47SNID1OJZVaN5W26SgiF4lcoFPcUnkk9UOcWa+AMjxWh9x1hpS04UpGTimTH1aByJIHaoLm/N8WBxpNrb5LRlFYLT8M7YEzSRljLOJFdWshsgXUeT3DwScapq86i6dINwJVJCYSxoKFM7G+wBe7tUk3XGZrxpZ6LwDEgUwHg8AMHBkkH53ZgW8BRwKqxqTpu33ErSKWyzEZDiyplVGcs4uwAGBBHHK8k86Ltu2Uwlxz+CN+mZVzShsVy7i3qfnI8AcAggm/W+miR0thHEyP6kfqiORcLbKQBVPiqBDZck2fA131/4Y3EEIznhYjwkUb5KwQ4qH4NdoX6DLwebTwTNGDHGzAsGaQnub2fxxXK2PJ81lofVFJxiq2yvzhjBOsSRoY3i5YoQceAoNI2dcEEk+3zkX5OmfR+vOIyodGzGbBRYyZWUlSo8UIi3dxbV5pVPT0YKTkVRWNCzi8ZAkb/AFfOKlQODlRuiO9rLE7qjYkAWvLKvFLQxOI7R4rjitK5pEmk78B8vTzv4kaay0Em4Y80DE0ocAYijz2L55H30/2iRwNBtm9IIUPOUvrGY40Q9GPEkntAr9KrSDp3UYlcAxRrCqkExRWrElZArY/5ZBAIY2DyTV6n6pIWYNI8SsncFBQhhHk1lzRRfAzF0L+h0YZW6/sTks0l9y2QfD01IwjVQoqWNmuQMaYEMrY0FNEff7DVe3fTt4cQFMbqMWPaQWCg5AZd0ZPA8HtP1BOT/GssPqHbSoxd8mz7rxiwBX/WIiXiwOH9/MvwR8fHc22+VQzv6alExVQFRwWtr7vU8/Sv11RxQm9qrOOn9N3+3libONkYrmMzlRVQz8ikxYZBRd0eedHx7o7zcSLUsEoRlSVouMVYgMrFaosVOJHP3AOrtuNtHRBFcUD/AGFfeyK1VOh9K/gIu9jIzNEAjOcY1oGUqCaCqWIsV4Ue3Kbc4KKSabfImmnaHcXOyzN6YQrCmKqWOLE/ijvOZqvlBHmtNukRxfg4rIkjumJkIza1f1CwBrwhb/f+ngWfouzO9km/jJYzEQf83sVitt3EH8pUVY8nydQ9c+KfRlRoQrKA5DjEh2urZlGYYAlOasH6WdIlV7mByvgYfE/pbeAGeQRZmlwUEMWNkBOCW9z+hOvK54c5bjlJFcXaknx4uh7f99WCTrn8SdrBk0ywmNRGzqDI6Kq5B2qiSDyTzlqvQdOka5YxG699wMSSUzeuCKxCEe55vjQw+APJYI+noI1tiWAo0gAseADZ/c6FPREYkEsC30Pn9vHJ86D3/VnYG6X/AGCCAAOPH09h9tQ9I6s0YExlBGJAUk52bNkVXHH99LkGCwxbGbaRyRQP6Ydy7c4vdKpAf8opKsUeTR0w+Bet7oNHJJuHeF1ZysickAcAOSAGY40Ca83WlMXxGJIWBW2YKquG8FjjyPJq7ONa5XfPCtxvWC9qnjwOAftwBzxprBSZ630br/8AEyNgn4a5DO1YFlYqQCprmuP0OmkuyRzbIrH6lQT/AH14x0z4xZFSJZ3GCgVdWAPm+/1/rpjuf/ULfIcYsZFr5nxu/fyQf7adaqF2lkRTrpiF8n+mhdl8RPLGrxKqK6gjsphfsfuPGsWE+WOuqzymicbxfZcv1/7aPfqbkARqsX1Nc/0FV+96XgAeK1HHugzOlm0xvg13CwR9R5H9DofUaLaNb53RbQeo+a3ZrtLDM8e+N0PrWpX3IAJ8Ackn2A8knWpGABJPABJ/QcnWlcMvFMGH1sEH/iNYxqfdYLk142Lr2sgWfsLsn6aW9d3xwVUPD3bh1AVQVWTk+4RmPj8uiN1ljHgbT1Aj13ELRQ1Rvtar9xX20N0rpJdcZSykGUEAgq4kAbMEDsIcmrAPHjkaVyLQh3DpOkmRTzTHEZAUaDA0f6X++nKdMUowdqUjGxZ5bt8VzydAdT352sMbUCPWhjZmulRnCsx+vHv7XftqrDrU8kMzQRBwjrgLLd08gmBBschlUCyB3i6qyjkdGnoXyHzT7hY5TGVcxbqoiXoFXhCcjkkLLIbBB8E/TUHTmlUuoYTToWd3LIcCoVAoQlSB6c5b/dFnmtRdOjlj2k8U/YryRIkfBYAiM5JjRYeLAPs3gjQHT94E3jCZgkKqCeQSzSbeNCcBeBpx5+vAvwp11SYftFkaRYSYyFk3GS2rXHKySqxIFEF45VoeAV+41Nuumw7dM2IgEkckHaQDi5APaSo7WGV88XojbfG8EUasE/GCJE9lRkkbNh3FgoJyJAJABaiR5K7fdH/i/UZD6hYGVVZpBaSDJSikFEJwuuO6x7HQajy1kyTbKn1CKSCVl/h2oeFLoRQGRc+ymvr48+DoAdXcl5fSjdTlIVMoDKgUMBRWyMSAKuyrV4Oj9wsksrq1qVFsK/OmBwVUB7balJBAo34vXG8gWR2yXOmxkBAuwo5LDi2YO3B+nFadSN0reCfpOxkzUzGJU4kdvUJHpu1NZw7GUd3PsQfY6ZpvdsriTbGRGVwsIc2tFsG7o7BHpgAZcg2OPGk525uEkWFvsAt+blbGNVrEl2pauybJFASbaaL8FZS4RRHGpyHaMlXL5eALYVzdqdK7aG09unJOQDud80m9BcBzmFoEFGsgAWSBiTQs1X9NN/SC+ukZV2OdJahiloF+WiT3MR7UAOa0qnhj20skkczPJtnZ0VomCu0UmPnwyhuDj99Ptr/6rPNtJVmgHqlGUYFgCxzU8UcSKFcm78jSw05JHV631UNWacPAJ/iMUm4U4EFlUZDIIWMjqvN2qqfAHFA83pLueqNj2k0z/h2gyGLANkxBL2jEAgg2DfNab7DYRNGHMuSh6sIwuvSLAdh7yXontN1wfebZ9MO6MKw4k5YRiRbCssPrHkLweLGRN3fHJ0O+TiK/N1YF5vxWxKgqrKaaTnziK7QBVg3fnjR3SN8Wj9SzmTjS2EFHuQgKeDHjYBPzACrJFzb4J2W0hD7vbszmJmOEsgJdcbQKZAuRJ9uONdSfBKTuDt849qSEApi6MpcyMQ1mmyAsHjEfpp6VUjRk07fAjWOFAuSMQRiWsFWXJCuSNQADSsxa+Bfmq0z6K6lZY5EU2E/GxXIMFMjkgg+a9MccYgcedLd506dGo16eMiqO0jtYQIWNUmagNdcWASC2m3UumJHtTLHTeiuGamRVLg3eD2ZKNuWBtjzQA0sU+Cs3GsZHvwt1YOJBJK1wenSuxA4SOQ815BKobHmMn3J0l631R0SMNIw3A255BZ6xaR3a8QMHCgZGuCboA6D2MsX4PcI1jnWR3JUjEUkUbOxBWMBODYs2fc6L6z0KVix4CCFRnlG2WaIHk/8A5CAhYfdv66z4onyyq7naGS4lQBpvT5DCyy2oUm/Jri+fb31AkjplEtPk/hCwINefHsLF8Hz9tWmHaFuobSJz6bTGRo1QFXjj9OULYPK2ic/cEe2g22rKQ6PEyhmZh5dI8QaFLQLWzMTbfKCOdIos21CjZdPUZSq3KNZWqxAkeiT+a8bGPi+dHRbVGWMqXJl8L8pXH8M5kfdCPHkH66j6RvjHCzo8YWRochJ8+JYOVC0aQmyTx+hvTPf9WikneTcOkMjoCgZ6C2BVUBlS+3Fk6bamgJ1yJtz0VQ+WLBak5BDHJVJAoXQ+Uk14NDm6StgxBCYHFQ1tkPUru4Hy2bNNzyPGnu3M00jpEnrDkMQoZSCMvJ4YnzV2a8EaGUyRMXl283IKC4S0Q59saxNjmvp+wg8ZRpU+CpQ9SIla3IX2H3J+/ihr0Dp8oGwkidFZpSjBjIRQA4BFUTTH3I7h9NVH/wBoktykZB9/UcH9KP8A1026rIR3t2UVFA5DiiTZN3QBrxwBrTkuYiJMhfYytkyJGyJ5F2QKFCuP/PbXWy2HU5wz7fZsY8iAQkZFjg0ZBZH6Ei7970J0lX9WUqWIe6LEg0fHvxxr2D4f6nHBtoo1kelUfQ19R41ya+u9FWo2V0nK/a6NQQBRSih9tc73demmdFgGXKvIUkKW/wB28j9gda6XI/op6wqXEZ1RGQ8kH6e/jRLNftr1rPF7mWNRk91+5Fft/wDupEgvzoiPaj2s/wDD9tKFIWbsuXjTEtHKWSQgWEtGZSa/KcSv6sv1002HRvTRVzJCqFFkk0BQsnm69yb0SNuv0Gku628pn3aAyAPt0eJsSYwxLK6eMbOK8E8Bj4uyC8YqsnUfQD6LWfxfUjLMPMgidVV7AAzaJQW482PAFWKRo0jaQmlUFjwfAFnirJr2A1WJN8Y22UskqLhC38SGfHj0siQnuSyXj7BSR41V+ufHDPI0sJlSCTbKzWFrFlHgWGDh3C2GI5aufCnVGLYy+Netod2kaXxE6A5j0z6iKUYAeTmyfMPC2OL0n+DviFFkWJw0pzPqYl1yxvFaJCZAgAZEGkJu24T9Xm9ZtqfT9IvtWQAsFcTJlHFkZAClMqFSWr2Hitbn6NI8O5waNDDIHY5sZCuHpSsGUlsFZSW8iyTdVal6pUGbrrrb2KYsoilR45qYFhUivEqKx/IAUJJyBZbx5ICHedRkWZg7ktjeQILepTFOCKK5gMaAsi7vnUhT0jMzELUDiP1Q47ezFY6Fepmh+QkVldUdddZRo5FvuCfNkSRLEFr1fxK8hfHHlqsFSRT3WuBk0o/Mzbz1HIwjtlVc1VWR1LteAAr8MuxITg8VZ1YOn/EboSVeRSpCo4BNxmTJqWrdQ1D/AHQKpq1UJdw4zU4liM3BQePw3plbsKqysQKK8tiFB5Z9PkJDSPkWwc3HRN4t6eZemkfIljbse7trwC8BXuwWDrPSz/Hum22ob1GJZ1rLFir5AepWGZyPtf01L8L/AA+snqmWRgYPRzCkBs8EtjSmzbNyTZKkke+q6vW5YgQrGP0oiqqDUoDDJFIFAMvoqSVskHg2ObbD1fdepP8Aw6tNCLLUCxkIABKNd3jkL92APubMavIs/asB3XtjAJlhykWX0gy4oXdTK6xZX8qq2A8/Q+5APkvU5n9QKiyFVN0DTWhAJy57sqN+3HA516b8X9PlZ4p1FsFGaLVn0Czx2GUH5mDFfluMc3zqqfF3w9LuI7hVXG3GUvdyWkPzKoNdqim4BpAea4MX2FnwmKJeiuV9T8QXC7HvuR2CNK134BKmx54PGhtk3B9RJBkKIWrC2AGGRrI4P5+/sdQs+7iQxpNlEwaMsh/DoqS4tlDBcWJJqq9+Nc9I+JHhVYmClAaBxBZRbMKNiwGkc8/zn24074JxlUrGPTN086MqcHKBVDX6ad5BZ2IpVOCWzWTVEnwbF8N/EkcE0Qdcyh9QyKWpWZBC0oWPiUsGK4jwEFZG9Vb4f6gzMIZZWSIuC6gnE4AlSQBbKDdj73550w6P1l52ZSMUaNsmIY0a7Bjl3U35j8wNHk8o1WSikpYZ7Xvkg3xUeorNt5gOLwMnBMZPIY9oteSOLA0D0zrboJLhDom5SIPTMXZ2HeAOKOZxcCj22RyR5p03dBZ7iZizOxshAnrrI8tCzQDAIC8bCgvuLOitv8Qgu5bAhJ/VUSAAGcJ8pPCRuokrkVYNCxwg+3sy8ybs/wAdCcysSybhGOR5czLuMaAo8Ko8jHE/prnqI28kqQo7VMrSsJCTSxth2gg9xYEUK4LEcAjVTj3AZMXixkO3LmRhciupjODWAz4DgVxcrXRFnmHf97bpQ0W4jkqKgCJAMm9Jq4h7COOB+JRBsHTKnyJtayh3/wCnkG2bayvuWS5JJSVJqMRx/hkUTTiwxyq6Kg+Bq/8ATo4/4YCB8kC9pBLUCMgODY4I4sHnXms3WjJstjCXSJZUHqNlGHMzcucSKHcxoe5YkihqxfC8kxhlWKmhfPBmKmgYkSIqq45IMKIyWyW54Fo6WQ7Wyv8Aw503cPM27khIsSCIvMQ+BXLMee3uKnwafi71Inw4rg1IYpppWjWMsuILLnI6j8i/mx4N+RZ1YW+G551haaOFJAHWQWGRFLGii4m3KKoyJtQ8lHnS3qHRpEG32rwxS7eFo7L2fWW7d3HPNjIgAksa8aW48Io3KTtiLc/BaySkLNDHIqk/w54d8LS1Jk7eFs9oAsDjSjqm1WSWRD8ykdp+pNcMPp4u64OrbL13c7qKPe9Pizji3EpxoKX/AA2jFlmAESg0eLtAa1fJkh3O19aVBXpljwMlxBsBhdEG/BrTtWQPGJNq0FvG4j9PuFOMhgMSavuNg+x4OrB0vf7ncuI19KVQKYOny2Ls0PPvq19K+HpYURpVWRCciMjSZ9xLLib5PLDwNFQ/DEaGOYIcgxPabA5Iv61Q8eNLWDWU5Pg3cAlWRHW/mBpq/Q/8NI5unIGCgkOxVxmeCoAKsB7CqHj7eeNeo9S2ySxyCJ2DtS9rV5IBPJo0CTQ+/vrzv462bOzvH2x2YgxvjABvp4yFUDyV+ulkqyg3YQ3w6VQOSoJFgCgCPY3oKuBbYmjwWA8Ej6/bQnRdg27VL9VSkeC3mvcS1sGUUQt/Kf5vfU8G43aAqXmSiaUJlQ9ucPNckfUnWjHuxWy7xrfvotEGounSRyIrobUj+o+xBFqw9wRY0eq66jzVExFH01J48D9tYkZPgaG6l1yLbNGJQfxA2JAGNgEhTzdsQFAANlgPOg2WhCwnpm4WeMSRsCrfuCPII9iPcaS/FnxG+xlyOPpeiS1qeHshDfgFmsAEc4HXnI61uWimEUvpIkonC5qApkJVKYfmWSMkjJQbJxrgMOufHj7mLcwsuJkYekUCkqpssr3w3KHkEkgiglHSnStOngtE/WP4np0e4OIV45Y5RJ2lpPSeMqAKY5M1nBhwOPrqizdMUtIFiEeGA5kyRVLUTZI9SlQ8fa/5dG9N6IN9t9r6EhCQrHFuVBTlpHhSQhhIXBJjDC1AJFjydKd06ruwuBxIdVBIEhAciNyrAYhuSMi3aSe0aDLQRN6yLDYhI9QzANgDX4kRjay1FrhIvK1s91+ROnTOF3Kq8io0SgyKeQGdXUSW2TENaUvnNya51Pu0YbHb4yBkZ3skxri4YkgizZBfiifJ4B4A/Stm8hkVZACkLOyNGzKcGph6a+eVUlqsWPvrZHwa3ziRIrxB7VHy+ljGQoUHEEAZMSfb1D55Jmh6wyblBgSPrO7KqH0wgQuoPaCCABfmuSSddb/ZlEeLBFKOrj0x/wDWUX1BRkoMAhBFZEp48krpRuSZJJldY7OQU1wiswvPIg4qAAR+UD20Ld2Ua0nBJWpd+KGcMBuOb0w0MilSWVm+VSuWR7+aRgQRfF8HRHSd2rko4haQoo9TJUIPqWxvlWtBeSjgWeRyLFtN/tNntA0SYyTQxsAJlZw8q0rhOUDUoIGJXtFAmxrXWPjliZikZWMxhS2N26uyOoeNWxVlFgMwu1o8nWrIq1JOKTK4+3e3AjIU5r+ICqlkGPyADGigWyD4I8HXEXUkjhkWeCyNr2DAtiGkxtQw7ARl8vA4Nn2Ih2bJJt4payWX/MDLIBFIFoBWUqQFZsiR7P4+YiT7g+pMIZGZs5IhaKHkxYAH1CpByLIbsGgSTXI1UC2y7xdflXa9NRVBEtK2WOLKyFUUkng2yrR5sE1xRqm46cYS6cySyAxkyEMsbqWjdlQjFgzE2GuwSOL0p6VuiYDODNEqPCqkG+/H8QBjygMbDEe4I57dEx/FEczi/VzVTleI7r7iWY8sSf11rafA+np6coyt57X9RH1xGiB26kGOw+Vd5JjVD3Xyhx8H/mdL5OhN6ayIcuxnIPBAUgUP5idWLqO6gaQfhu7VQCyKW4HjEG7r20u6h1BcYgiSQ40y+orU4ZxRBAsVywI84kea0252sA6WlGErkm6xV+V8kuLAtpHJECSKc5RkG/VAIXjHyAbC/XytVemLdAwPe5VaKnBTJnJTMyKIzynbRs/cjyAX0dY0/ElUM0cX8QCpag9s8YYmmoKihV7gTKCb1F0vp4EDZFzKpe4ngLRECPOjIBauwDdysCo/2jqsIbld0c+EGxQrMaLvG0W3iLESIrM8liRaoYIGIWj47vOeuoNs38SYM09ISJeKogWjkKo1ZwNsxqr5Hvrp27XcFHKj1I7YMWelDEooruMpsHlQrEvyTiDqPcbKNymRRoI4EEg4zVmV5FDMnEpLqWsZCl8CzqL9rpleVyMZdxGjHECVg57ZEqFcFDsOSAjdqmyT4JBGdaD2O8YRRembCxZhhEvJ5dlAFFwrOIihIBxY15szb9Qgk3ZfKPCI+XQoZC4K0UN2gVSCCK5UWND9I6QZ0Kx3NI7I0K2vyCXkEo1KQgZitH5iaOlk03gdXQz6ZvWEjMXVUVAqHEFnjlaNsB8wUM4KWWIpwFC0tMPhn4wO23EUcuCxSs4BXhc2Kngex9RmLCq7gQfYC73fGANGkapHSeoHGYtXZ40IZqEkbVz3Z2ee3gT4T3PpujzK7LKBEHW0LNMqMFLMe6OwCGFLbiguR0jTayG0uD29Tf8AYgiufeiD7f359tB9agDRE/mUWv8AtAeP0OlvRPiSKRJDkqrG+J7gQpoHEtVZDIce11qbdbwSA04FqwFYkgkcEWcSb55se2p221HgXbWRbsN3hE0ccaLlkz+QCSS7kAA93k+9k6S/CG+jR5toJA8BkZX/ABgXLnAuFFBsBVcAeTdtZ1ZUgUng0R4Ni7B4PbwOKPtzfA086ZMDwwXP60Lb78Dzqrl7tpNxxaCqBOPfX2JH9wb0snWHblmkZQCPB5ckHkgDmrr7abhDndflofuSf34/bUG92UUwHqKHC8j6j9ua48e9aoiB53u4USb+I2O6RQKMkchJbAfNQbuurq/H1rjSqPqLSQ7aJlWMHcqWOTAvTF2yIII+bz9SPNVq3dS9TcsySQhFmlSONDRkMYKtMxYNS2ikYjwRySTQq3UPh/19zOEIRIbxGTcsfmGd3+554GjJJDcD2FUBZlZ+LBjDHG+OQPJ/XzqbbzKgqpASbORBN0BfcCa4+uqj09WglH8RFGVJ4RlJk+xF8f1P769A2nW45EDKhrx3LRH2o+36caigsrnwbs5NrB6e5xzytcPBUi6P+sCSL9wE+lCyv1CJGRXaNDJeORonEW1Enkgc1rieIBHJOChGJayMRjy3H0HPGvIOtDdTGGCamm9NaEgPcU9R7YjtAeInigzBUu2GWrWQjHdlnpnwj1d2aTbbl19eOR1UWgkZAA3KrwWCspLAKCGHHk6i+Ofh4b7bB4GDSxMyoyEGiWCv491dBx5FEfpR4opW3G1DuwmQKFkIdZGjCEohSvqmHqVmQwJvGw56Z1CeCPqZBeM5LJDI6ktIxObFldflAGLGr/ENHhdLyX2UxV8H9CbdQOE7GBMcgMalSRTK6vVKeczYU2f3g690k7GSNfSrOgpD5CTCu/EilOUl3xWRBFeWew6h/wDMEm1SWCHdgdkbQ90lDuGRaNCS4v3o+xGrf8Z7JDshJPHCDEysBNJcYs4kMa7zR4XmyBoNsssStnnPRJ22zJJIrdkzJIWLUVEazKuApSp4+Y33EixxpR1rrLjf/wARtPSsMPTK92NY2imgrLk5UVVhq8jje9ZhFCaCh1fAIgvjH1Bxxw6VweKAF0dQwSAieSO2WMxu4NgW6uj1VEKSQf8Ac5JuzXSklLLF1I2rRZf/AH9DMjmXaNK6jwcSqSc0SxFiiL8A8aQbbbGOgsoWV4+1ispkkWYiPFirCjZ8gHnKzxRabtpd105ZmjJxxUSKVdTjaySvGyAqw9Pgo3/2fbVegQYP6gyURlaq6YKQOQT3gOwUnhCycEeNPzd/ahk49o15yG9Mkl3249MLk5QKcvTUIEVwfPlu5TyC5IaiPIY/D00kdpJ2w7gyRzJKwC3iaYsB2kspQPXcGA5oaS7TeTYtEQY45Emb0+LsrmXf8xNIFDMPrQBGmMe2PpxMxyDZDLtyzZ3aig5x7gB+w540q1OllK7waEY60+m3WLRv4hatwY4wewCNFjjcsqwMwVASC1jIAvVMReXnQTThMY42uNlaYhAAkcmDSAhSuXEUSNiWpiL50b0/qypT2qtKcBI4yIAIckH5s8VoEc2eOaGgmWVxB6MiqXTEqeIwYyUNccqAxYkmwD9uZrU6mao6NX0/Rltu+CXpPWZpAWUGhIGEhZiVkxVFHqVR5NhOOGa7A0d02MSTxxjsjENn8qo07j12Wl+XE2Aa+QAeToKXaEqVVZvSaRmmLtGLKA2+EfFE8fmHA96Ot7Do77gSCeT0pVaKJlkZKlICVbGQPl4PGVVQ9gHOd+CTYbgAwhS3pybhm+aQ20bB4xjHLiHRQBnQ+axeJpluOrvvPTjhUeskoRHdIhA4ckAP+Fziii+R70DYGlGxiYNGHchY2ZfwzgSHvLvC/Me6uD4486m2O0yaSOGMlwySxrZ4UBLYUQGYAtQN3R+oBXcrBXYN33Xpdn1Hcpt5FitlNRpG6onzCiynBAW8AAgVxwNJOt9Xn3UUrbm5ZY8ULYItXkS+IUE0FGNVxISfbVp2QU7ZZJXXlHd+xBJ+EBEM2r5RjZ9yQBdAgon2iTAO1hxMY5Fyq4wFkaiF7QxLCyGINe1AM5WwUksgvUemyRbYxtzLKNrDTkKY8F9Vh/LiAIxZJqybHI0rXdusKGGNkANsA34bkRC3NENZBLWKxyI1aN1vEidJYzGDA00wEsh4Mjmo0BFMDQJ9z9rJMXoXDHuJAAWdSFE/nJbUhEy7ivBDRilAFAAHRWpSrkZaSk8OgNyPXphLTkYshfwGQBqFgByvcaJBfkDxqTZNkc41xKRusORRYS4CsxK13O6S9vPdlyQAaI3WzcyMqp6iSqfUIIWJm9SSaNcwSA1xs5rzQXjUXUFhl2+3jhiWP1WlEchY5mSywJJAbFnYIvH1JHA0n0Gkq5AN7B+AoTFTIkSMfUpywzUtwQMTfOYPBADDnTCXdbhDEBGyXAYoVW8ikg9QOsii7dVL2eFsk1ydQdX63EHbJpFxUIuC42uJBTFlFgNZz8kSt9gOoIWO0k3FlfxlXbvkFQ2zK7EHiNAPF0MjQ8UTVIXdk3t+oBIWamUtt0Xljkxp4jNyCoLFyo59ru+NCSy5Sxicfw4lQJKQrHONVC5FeGQAooryLJsg8u5tiU2areZdIzEqD55ecXZwcmGZL+StmgdLv8UkdJ4z2MZIliydmQuJD6jmRgclGPuaA4o+SYuOb5DJSxXBGxdFn9aRwkR9IxjFsmyDRgUbZVWJO4qvIIu7Gpd/t44IY5Wj9SOTxIAo57rXAtlxg1miPvzrhoPUaQr5WLl4kEls5CAoQQzW5JL1kC58itQy9HMbQwg+pkiyO8RMhHBYKAEtfF1RJsXYFaCnQHDwBbXfpGcpVyUk0F80eQPmHjgWPOnXwt8RGLfJOqtguRCP9CMCPqCVLc88/bQP+FiRWlET4RyBBWbFLBP3YgUASf5hyNDDaqsyotBucqa8SF4BvwwyYEexBGi2qErsfTfS+px7mJZYmtT+4Pup+hGtwbZyX9QKcnJqie0cKLNflHivJOvAOm7t0fFZCtWD3NjbDHKgw5A5B/1R9NWzp3V23G7jdJHwSWFMbfxHgGsH5rALE1zzpHKuxuna5PTetQRLE0rop9FCUscKcaFfT2Gqr/hDxbGN82QumbkBSyO/cO1gQVNhGxrwD9dC9Z6285lh9LON5UW4wWkQEnJHA5BwFiv5T9Rdln6ltZUKt6qjxRTcJ54o9oNf20yyJOLhhlO3W68pKoDWCGUDG65u2Wr48H3++tRb7dRdqKuPse7kfXtPP66F+INzHFKsSMZUdQFc9pX7MaAJHjI/8tKTunHasppePav6GjY0lO6oB62rfcD299Vv4w6RCu3l3IVRJFHkhZmC5qxZBQ5ouxFDzlXvqly/EsW96Z6M83pbiJ0aJ/z5R9wZO4U2Ni7FEjVm+GviGDf7dtqWlDlCozI9RggAZ1mW1fyPPdyby86q1QsY9ysdQ6usmyj3DyF5nkaKY3RijUhqUoiubV14BJqV696sfxHvS/Snkf09wTGhT+HZlYIzYCUA3mVZgcSKJBBPnVN658NS7OHbKMXfbOZixjYM4Vg2fki1sRkeWAjv5BpEerzxqgil5x4jXFs3ZgPS9JfJBkN3fdmfmAGlLUmsYCtruXh2wdTLFJHuWbMoCpBUFWxdLEhMagNdc0QfOt734rn3SIHkeQlmjVOxh+IAotQoDseApNVya50u2CMVnjd7jaONnf1e0MrkgOWZQ95UQtmyAKJNcSdQIjk8oQzeVAUOSoBx8tIoGRZicS9+eW3yH4yND1hfTjSRRGVUoFAdmWaR5iWsyHO1KFgSaZiKXSnZloVnjdqXCwCynmw5agTZxSiRda52chZHU9tIG8HJgXTEkgc4kLRAF2ODqCWMRt+I62B8rEEsbalJDWoIC9x/n+lnW5wZvaO9vstxtw7ruhijBVgWSRlZ5EyCYJxkAWYkCrQ8g6wo7ONuu1EjHcSn1ZAyI8zWKrOqqqtsr8UTRAbpJ9XEhvQLkhowzAxqrFscmGQal5L2tHxfMkm43MqxL6zn1y0qxBSB6iWbDUAFGPzZEjEE8c6eDi1kzUrwPdj8HbhZA8sbYwIy9jI2ScoLUG/lJY/ZEAo+COpbRBIMExjIYYh8TCgkYWqlgRK5VlBsUFckkXpDD8V70EbV3c5Ni0ciq11+VieWQ+9tiQbNjQe4Mn4biIDGNV8XgFpmHaAaxYWPNNR50jafH5K1tfKb+RPLB686TFmb8UOAFohVVZJZZFWwi8pZVgRZON8Drd74Q+lFgWEEryAKoJSK8vJskG7YeL4J41NN0aXaSiJzHOkzgFQfxWQnGN8Caj7gD818LdUNCpHgscqxZwh5jlRyCjyshUWB4IDL7L48aFrsIrvOL8h2x2KSQTMv4ipKFU5CsVKyKqu1sGtnFsoVru78a2W5SKYhkctRkjGZUhzTQoyk2QlkEAg8tZPFD7Hp7vFxGkULqGEhoqzB2Z29RawVIlZcG8ZDwXGoOp7ZiJWZRapHJzioxkJKlRnTiqrHPx71esZulQVudqZNqkyEByzh1BW7XHtrhsx3GqquebLMJC8iGMo2MhXgliCB5yBAsEEMOL8gjRGz6o0W1FMGzlXI/KeY42rEMMyptcyGPBqhrIJ5hdyRoCWbmQfhRqSGYBbLp2hQTzkKI5s7bbyQynf4CY0eaKaSFpMckXvpiCR6khwX5QPUuhfggk+REJZYUijxJdS18HhixHN/7N83/TU3TJsCyZMLtgzks2ZVVLMoouQqmhxybF0LkChWZQrOWbtZO3mw2KyZZOVoeAFNe/nSWUqL7le3cLNI6+mWSwrM+V5oVEndfa2d/fu8V5d9W+ImklhEyMACS6JxiFHZgQvaqgquQ/Knn31Bvowq/hoGFBhGcmc5cBji/P8AtUSfrS0IP49TFSRnInJMGXIUlYkA2UkZ7K/rwKvVFkEXtuh3LupPxaiYYhDBeIwT0mRcUUlR2uSfqMC3NAqthvGbbGF8o2EqqXYglWkdmaw7KYipTJiLsE3Xza1tRMUjY3x7R3m7u/pvkvBaUNFdN5yBJ45yLpon3EvrPUKSepJlIBwQUBAUm3yUIWBPze2lwWW5q0dbgJBuzCIWklkDQ1atfqMBG8Ttfzg1X0f5jfDTqnR3hhhhnLxOEaT08R6eFsSoKg5PkVBp/BXtHDaVLvktZIY48omKxBo48WLSO6B4+RGUJZVYkEkjk1Wo99FLDnBm7kJyULvGWlcR1nXiolAb3oAVp6TJNtS7BA6oxDSSiV5YyrTFi+ca5dig1+GSOARiO43yNHdRd/Q3BQZmWnD+mFAZGQlRgSyquYKgHzbEnMDSr+GEMe6UoBI0vpFslXCIx3woLKYwVIPPPbZB8HEesXgeSPawWhxdlJZlxCYkgyFnCgF2NAAWSBjpaVjqToI226RVeVAxm3Kyqn4vfgiovAo1KJQVBagVJ88g66LDMduZAEkLsEcFvliUYJEMTiHBLDv9ifPsH1/p8yiIDamMq0ah2ezkVyUEAlUvhrSxRQGtEbbpMke5l24LkGYHllpiQDZINg5V9Rx+p0G8GwshvQ+jzIZmdWVkkJjGB9OyrKe2OzQlKsKIBw9stcdM7dxLNvIFmMmd+IwJKVlIYkUmClKsnleDzY0u5dtwUujwoOR4I9mNVRo+9EVwfGtP1VzKec1UgICQeSSKx5BvJua8AXqe51wS5yWLbdM20uxsi5ZVOLqlViBHI5KjFQGPCWcsTWV8GfAsmz2m1IaCU7ko8pDRysoUlggEigqiEALkaP1rVe6d0x5dvLEajEKN6ZIyLS5CUluCVBBKkKfN2CfLfY9WWOJF3cjrlC0XYbUGalNohIIA58Gslrw2mTxRXbi+5L8Kdei29fh+u0XqEPGRkECBRmWrEhB3fN49rrXqHw/1htzF6hheKzwH4JFC/PNhuKIFVrwfcbNTPJu0iKwLuDgoZUiaJXkhAjwBYmgbAI+U88jXo/wx8RxQbYgTbg+ngrRywtcRLBMQS2PDHxkWo82dUS7EZ+73Fz6xskkWmiEn6mjV+QfY++vOupdKi9V+2OTuIB9QqQB24kChfF/73nXprspJU/MBZH2Ni/64n9tVXrOy2iy1Lt0LUO4tCMvvTSK3m+SPIOiSR4MFIsqHCigSfIv7gUPBoeRXvWj9t8SttZ1mgxQqGIS+ACAPT7vmDHnj3JPGod9vFlQTGHEs7kCOZFjBUDJjFgWUG7ALi744GlrgSLYP6H/iDXNEfT66PJTc48HoXxP8aQbzp8C8zP6mLZCSL8YAY1TUeGYiy3yi6JB0kbr5VoY3CF9uJQk0ULM0fcFWQ18xuOgQFPPd918kjKtUpR5FkVY7HabRXWOjgO9qUjI2SQaB0qXdvllmbyVkYuMUbIvZJ4u7NHm+a50uClYJd1EzlWCMCUUKSxESswJlJJsUBldMAMWJ8Ea0kKOm2FpiqyWFR2IKuSZXAFtnWI8UAAaAvRjbkOmMsglp7R5GtVC2XkZRbMXNWCCTiSCb1x0d1dhjElorFlAILkuZAkar3M1DAZE/MOKAo8mqgjZbXFHWZvRLYBMyoYD1M1DQ8MgbBBmRiASb7joHdRRRuwKKrOe8yBmCqwHKqnPcCSLo8g8cEHKjs0800fC0DFI3LSp6eTfQjgsw8AuF8eB5ZMpWAVGtpFRqpWSTIZKuOUhUENlfAVQANI0FpMY7uZJPUj24/DZhkjKVhXHErIbjDBiqUQS3nk0L1N1jf7fcPFBstv2Ia/GYgEBLJJLkYFQ1NxzXHjSibbJHeLBgSy5Mvc6+CVyFRoGAa2I7X82DrPiDY/wsyII5FZUOT5G2PNDgUhRGUEDn6862nFRVIE8dwrr25iVI5BGwf8KSVCmA5DRlQW5xKrSsooA+55C3cTKk8aMzosRxZkbvViS0rA15VmK8DkRjXXQukrLuNuMi3Kvl5XGNe5SCMvnVUHtXjWtltLkVcmeR2ckEcGkLEE5d7B1XHjzfngavpTUHdCyTk7C+oSYRZlEdKEaqwbJQbbNCGFHFK98cqGmvTJWi3LelNHHGUkEiRqWWNQiyylchXpEqO6zytV4qmbhmztuPSoU9mypJrkVXFY/oPHh9s2PqBiEaOOJ56j9PhXjzKm/mZTS4t+WPxR52pKLVRVDwbk7ZDt9z6m8R5hn6gNkLw0sgIEjAnvNOG9i1AcHRu9LCKFSyvhGHDkXUbdvgjjlWpRfnkjwBR1JnjaCS3W1YkjFjS/iU0g7GCA+aFr4PFm7LdwyHdOUKQpCWEauTiz5IkIYqcVJIBIq8BYIvUJWGDTdeQKPqZC2yBkZ5FIwjAWV0Xuyq/JF2OQK9zrIpGMdwsjy5qwqKse4Dz6dLbkgWRwb4JIEHSzI0QCqSgaRmvCs/TpgMgb/Dw4otdlRYvR0MLQzOqUU7mB4A5ziT5+00Hb5uOTfm9M8CJJp2FdH6iTvvTkYMxcDPkWWpTdMGHJBWjd1q09X3wVU4BF3Ry+QGkVvm44eyQL48aofQZfU6mjysopnlLeEGAaayAe1Rjdc1QFaum/iLz/iYsywIpYYm2ZmcscRichi3HBux7HXR6fRepJRic+rqrTi2+CHb7yBlknSGEOGjRioWnckl0y9MYlrHnEGuMTwYBJs1cjBQ3qOnpxyqssZFjgqykg0RVE80wHuUnS4sWBQdwAYC6YLVX9QK4+mhZvhbbMb9Ojd8O45+vDedeg/hur5X/fY4f/R0vD/H+zsdB2n8MqlGJeRO5JSQGrEBo/WLIB8tk0KscDkkbJHftMgdO1UJUxAHuyTKMqW7iRWVlvm+o7fDsQVVIYorZhC7Ylv5jRsnk83fJ+uoofheONSA8hDckMVIujz8v3v+n0sFH8O1fC/kePxHSXDZPtemR+hHGZGAdmtW8vJyQGbBfUClTiDXF8EAa5g+H5Iish3jGRZXMZdUOLgqkiP+JbKQQKSvP1JGotp8O4Mv/wAiZwpBxdrU+ODVErQqiaon66edXVZlK2y3K0hKt3d3lDkpBW1Uih7DSP4drJfp/I8fiGk3+r8CSDpmSzhhC80rOLJwj9PnsURsQFsEglhwa4I1INqZduqYhJY3ctiJcZFkUrI5DoMpTi3y3QYmqJ1Ns9jIiLGZRQVvlQYlryDY/lOXJo0fp4qJtruGhNlGdQFU+wClSinFQQoK/Uk39qM36LVX+DKr1ulzvX8E3xLsJWaOWNIpFJje7wLPaqRID5sqI/via5PPLdHlk3SyM5hGLMpAQk0R2rywaw3d54sVzzztJZ1LGSCJyVGJWRkUPVElBwynk+1cfroqVyVSsmtLdCTiHLC+bN0CaNeODdnU36PU/a/4GXrIfuQm2HTrXCSCUD55CA5PzdguzmxHNZcf00Ft9mUBwj3CU7LbxRX3tipNhZKojmyASKJrTv8AiiYijRNyaCmMMoWzxQGPIo/a/tem/wDErOtq+KqjWXullyJVytKVxIGQ9wV96OoPQkrw19UP1VLhoq0U3orGyIjKvm7IfiyzBTyxUXkbr28ak6/Cu9RBA0duEDxrKva1hmKxyOGKLkR7WQfHnQXVYp9ssa+m6SS2zIw5YBn9MWLsnvIBI96sc6nh6pHAU9WF0kx7sVjCk3xTC7NWTfNjyfGoK4rgdMcz9LgjgjSKbBdvI2UcrKpllq8mZW5bEcUTxx4ABWdD3EwA9NnUyTc8qWkjbM0vaxDjFiQeBjfFkaD6tP6qkKjCNznZJwLd3dRNFqUi/PafpovqvWoY+nbX0dsU3CAEv6dRDEY+oFf5ybDWAQG+b7tHPI++uOx6l/6d/Eke6gcgsJRQKyGzgsaohDUAysFL2Pdzq1yS2e0Iw+t+/wBPl18+fCO33Jgk3EcYdlBKRnIiUO/eQoN4Eqcl8NRrkAj2zpe93fpKZYtuXIu45ziQfFBo7HFe5/XTquCMk+fJ4J8MdVj/AIXfwS0C+BiHIJezERV8ghuQTxZPtpeqGONVMbiNcrfHt9RiATmBTfKFq+DxrNZoXkqv02S7a/XDOwAWN1piwAbFlHyc2S1G/IyvXG224JMqGjt2iYljTv5dyrY/MDyDVBTZPFnNZpmHTVqn8wbpcPqTg0UiRnlNUzBF5x7j7CgSxrzZ0yXbxYeunDqLTEItguO9kFYVTIAoJJVjdVres0rYYpIYdWtdvEko9OVoJZIk7SXhljYLeAJSS40emoFW/mGq3toiyukjC1jXDzQSQmRms1iCvbdG/UUe+s1mmqhYtyZNJL62cjSFnLIRyQwsMMAxFhFA5a/GIA1x1Dd+o/agVAvyqpKgjmRgPC2RZxoUAPbWazQCMOk7DJdyWN+qoRfymR2UbmgaNfIL8JRBPtqP4a3cyLM4iWWBBciOFIxelYgHy2K1+g+us1mj3BeLOpdyajaKFfSgObo5IjYq5EbuxI9Ru70qHP4ZBu9DdY3RO4meIs8bKY/UHi2F9zAYk+f1A1rWa1CqVjPrceDJGsoaMsIczF6bmM4jI4t3x9zCiQ3t4OuOudbwdTFDDtWdSjekArhclNlQPwWIquSaJsnWtZovmhmtqtBvSPhn+HA3O5aAxY2AwZ5MziFBVSMTbEFrYDA8XzoXfTn1lMcZWM0I1JByQOyHF3sOeQbPF37DnNZpHyUS9oX8PdPEE0sk6ZhID6i2i8TMgILf5asEZrHjiq8jVgVV9afEswV1TJjy3pxol/Y0OR9b1ms16Xw/+6vueV65/wBJ/Y6La2XPvrNZr6JHgvgxZiDfuPGuktiB9dZrNOkTbJZF54FDWpP7VrNZpuwq5IJJhXg3ruGTgk3X0vz/ANtZrNTZZPPBz65PHv8AU6kgBIJ+n/n76zWa10ZK2cSxZWCSD7MDzWu9i5jcV8osMAeCpFe/F/rrNZoamnHUg1LwGGpLTmtvkB+L9hGIxMMh/lBpInIX5SsbleV8MyeDWV//AGEijptjKkkjySEIGJIid0D84qz3UeYHnn9ONZrNfHyj7j6mGcEG2mkDRy8MIqVQfGIYtiQtZAljdnmzd6fwfGQEhk9H12nVoiJyGxLNXYVALL3UQQLHH31ms0haqWPBY+mx+ohT+GCSze8bCPbsYVuyGQYRY5GrHhio8k9y/DW6kCeru1/DQIgiZsBGvygNGAHAJPcbP18azWam5OOUWj7nTP/Z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aphicFrame>
        <p:nvGraphicFramePr>
          <p:cNvPr id="10" name="Diagramme 9"/>
          <p:cNvGraphicFramePr/>
          <p:nvPr>
            <p:extLst>
              <p:ext uri="{D42A27DB-BD31-4B8C-83A1-F6EECF244321}">
                <p14:modId xmlns:p14="http://schemas.microsoft.com/office/powerpoint/2010/main" val="481419385"/>
              </p:ext>
            </p:extLst>
          </p:nvPr>
        </p:nvGraphicFramePr>
        <p:xfrm>
          <a:off x="1331640" y="1944320"/>
          <a:ext cx="60960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41328063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1331640" y="980728"/>
            <a:ext cx="5940152" cy="599478"/>
          </a:xfrm>
        </p:spPr>
        <p:txBody>
          <a:bodyPr/>
          <a:lstStyle/>
          <a:p>
            <a:r>
              <a:rPr lang="fr-FR" sz="3600" dirty="0" smtClean="0"/>
              <a:t>Notes</a:t>
            </a:r>
            <a:endParaRPr lang="en-US" sz="2400" dirty="0"/>
          </a:p>
        </p:txBody>
      </p:sp>
      <p:sp>
        <p:nvSpPr>
          <p:cNvPr id="8" name="AutoShape 10" descr="data:image/jpeg;base64,/9j/4AAQSkZJRgABAQAAAQABAAD/2wCEAAkGBhQSEBQUExMWFRUVFRgaGBgXFhoeFxoXGhkbFxoYHxgcHDIeGBkjGxgeHy8gIycpLSwvGB8yNjIqNiYtLCoBCQoKDgwOGg8PGi8kHyUsKSwpLCwsLCwqLCwsLCwsLCwsLCwsLCwsLCwsLCwpLCwsLCwsLCwsLCwpLCwsLCwsLP/AABEIAKgBLAMBIgACEQEDEQH/xAAcAAACAgMBAQAAAAAAAAAAAAAEBQMGAAECBwj/xAA/EAACAgEDAwIEBAQCCQUAAwABAgMREgAEIQUiMRNBBjJRYSNCcZEUUoGhFTNTYnKCscHR4fAHFiRD8WNzsv/EABoBAAMBAQEBAAAAAAAAAAAAAAECAwAEBQb/xAAuEQACAgEDAwIFAwUBAAAAAAAAAQIRIQMSMRNBUQQiBWFxgaEyUpEjM0LR8BX/2gAMAwEAAhEDEQA/APTxreuc9Znrus4aOtZrnPWZa1mo6rWVrnPWZ61mo6rWtc56zPRsO03WsrXOetepzrWaiUPrPU1HnrRbQwNklz1sHUGesz0KDZNnrRbUOes9TQoNkutYjUfqa0W1sgJeNby1EG1megwo7L6jMut3pZ1WckBEJzLDwa8FbF/odBtIKyHPJqJn1R91NKvP8S/kihI1+/t9ARWmfw91tR6gll/MAob2AHPtwP10LHofTtxpN1hzhXNZD3seL40x3O/DBSrAg3z7HVf6vugPOI5Py37Cufprn1E2ysHRB0Nb3Uf2yb9lP/XV19Q6qnw3F3LKObLJ4aqADEilNmlPF39tN95upAeMlGfP4RrEFwRkTwDh83nuGjCaiqZpR3O0NQ51mWqTvuvTKHCyOCIyQQmQyJEakn2pmBr3rXW867KudO5xikY0gY9qkjz47q/U0NP1UL02XO9Zqi7rdM7wh2LEfNwT2imfgEAcA8nx7aBhndUgYM4lcKAQHbkj2iLVxfg+NbqA6bPRDz9TqTbpftz7cf8ALVFl+I5gjuJWoyOF7fy5lV7a54H9ddp8R7iPNjKwKIgsoF7sAzHEggctX9NHqYB0y8bi1UsylQOSxHsOdJx1qBiAJFJJqvezqsr8S7icKsk5dWSRmX0wnaWEaDwLFpJz75fTS/a7weUK36qKhCE0Rk7HPwTin9Mh9tCOpRpadnoQW/GuaHvf7aru038rSKuZq+eB48/TToufrq6lZFxoUjrMv87fudZ/jEv87fvoQqv1P7f99Zx/4dWs5NzC/wDFpf52/fWv8Wl/nb9zobiuP+f/AE10v/nGsbcyf/Fpf9I37nWz1OX/AEjfudCmRR7/APDWerfgX/XWBuYT/icv+kb9zrP8Sl/nb9zodSx9q116TfXQNuZOOpy/6Rv31v8AxOX/AEjfvqD0T9dbCH/81jbmFL1J/d3/AHB/trn/ABGX/St/5/XUSbNjqZNl9ToWbczX+JS/6Q66/wATk/0jf21MuyX3BOpY9jfhf7aXcg3IGHUpf52/tqVeoyV8zX/TR8XS74ofsf8AkNF/4RiOSv6ENf8A/m9K5odKQqG6lPuf7f8ATU8Jmb83/D/pouRlS+5bAugoJr9DrJurqg7nUeDQHJ8kcKLPANaR6hVRkztNlLV+p/Sv+uu1Wvmka/YAeT9PGg//AHRAcR3MSRQC1ZNFQcyBz/T76HHV2MsiRgPHVEhEUEEmlXnnLIfN4rnybm5t8HRHS/cNttOr+7eavG7P0HP20t/EaV/TicLGSQ7ISS1A0ADybH19h4vRkvWpMBjzcYAPBCkAksFwojIY+/t7aE3PxNIIo4y6lpFAD+qis1i+OKDVXND5hXPhHKy+xIUdW6bIioDChdaIYXkRdnJb5u+fP9tAnee8qqMSOwg/JzlRsEefYef00/XdbgyZCTGRSkOJlyUue7vNAKxQBuKsMCK4Jd7D4fIUJKIzEQ5apHMgcmzUhrsoV/XSbmHakUs9eLRx4JGtKcxTcEWbsLXP09qPOlHWt9k1dpPd8pU+T/qk/wB6Or31b4eSIB4ZsXxJQZVkByeSe+rFj76qm7k3BYmTI/UqiK3HsH9OxRH/AB0N1A22HfD3T/w4lkQglXsGPnFiyj/678SDjKh71oqbftXGQDoS1xuoIIVgLvEG5Tx5NN/KdJl69HGKeOZyBeRxkOYYPTWAw7lWjZrjwBrn+Niz7KGMKqowZDiZD+UnGqjThRY4s9wGlu8jJVgAnGUrGvLwpffQFtM3I7R/lj9xf0I+9fOaSiOFjTkt+eVSeBxeCNR/760z2wsEfiSsSM7FIqJfGIv1GofY+44gi2hTtlWVWMgNNkpIVHAsMBwfUP619tOZk3VpVaR7I7YXA5aspSIBwv8A/b5131GdRLFZ7Yg0h7iP8pTILrzyv6aWbeQh8KIzkiA7jfaS1Ae9uEFasG0+At+8kn4TIGTENJIighpELcAlvkBHIHn9sZindxD09vBdZGND3H3oHn5j58+db3u7B27MpJ9aRmWjZPqOSoF/YgAf0Grts/8A0vdWWSWdc1s3ZCiwRWOIJAvyHF17al3PwPAkSh9zMqqAp/hYyrEWBWRzmr64sOLvTInZTQrRh1c90ccafOG+WMMxPupzZuDXgag6Oe2O3J4kkILggZsIl49uImP+8dXuH4K6TtCCYTZB5llkYEe9jLH+2nW2i2rRlYEiAWl/CRBiV5xscgi/H31qNZ5t1HdyxJmgdfqy5ChX8w8A1rafFe6of/HPIv8AypOR9dWmLqe4V8GCOxDUzHt7Sq8sq9oJewCLpGJ8Xo+DrsxsGACjVidMTwDYyo1zXIHIOqZ7Mk6fYrQQV7frraD6G9No9ov0r+mpl23+rx9a107jzRONqT7H99SfwJ+n76Zkr9f212P00NwBbHsP/K1Muy/8rRwiv8xGpPTUef7/APc6G4NC70K12Nmx8D99MA4Hj+2tGcD/AL624NAqdNPvWpl2QHvrZ3A+v7DWhuSTwvH1P/TQsOCRNsPf/wA+mpPSXXHqhjV1XJUcfUDzzXB/bUsZA0ljGomU8BTwffRMUxU8Af11rbRlrth54oHx/wBdMdp0cH8xqz7f1vStlYxb4AN51JwjNkRSk8ceBf2+n11Xd98VIAxRizGscqAJ4sgfMfNfqPvzY/i7py/w2I/nQtzziDzx7nmxfuBqjHpLKmDyI8lIzY2AqsoJcXf5QBX0x45NRlPODu0tGNXIi3HUZJGBDHLAjj2UAkg15N354HnU0m4yA9OIytHTSIfAUBD2kn2Yn7gHz41xt9iwZC1sFyzVrLKoJS29zYxb2r9edA9b6qPT9NFDEf5jAWKPgAkVwoy/ViB7abS097t8Lkrq6iglGKy+Bu9vI8e277QqWN4pxkTTElT2lQB51Jt+ott1WqHpgBmkNhghAON3QyrgAVR+1J+lbv0FpoFFtTKXtWS6Vr/LICx55uvqNM32LAZmUIj0CrPdLYtMFFg4k3S/YnSyneFwNGGblyWBJi7gzuIs1KNx4s8eeDYy82RXkaA+It3DEsTRiKR45UlpiK5UhEq8rqieOOONB7qHBg24f1UclVMYGRZQxTOMXQAUm65HkeRrvq/RYVRV26uVWNuOW7gitWQ/lZxkPfyfB0kngLirqw7oHWQcJvSFygk93B9P1LaNWNfmxs1yovTodXikhkdnEhvBVCmwWtVIWuQzWQxFfpzrzxNvPFucZSqQnPC5F9MlUVXAdgvulkcAYjzwdPU6Tutqcty6SpKAkeMb130wX8MYggISC3F0L0sXboVpVZdd103bNkWxOBGTOeA2NA2eMq8j78+dRbTpykI6qrKQC3cCwLXlRHvyPFDg6856A8IkMMhLKwUj1PZiMglnzVceaP8ATV66Jto0nQKwB5NBvYX9+RZ8aarQltCL4j6QnLRgurMRiEKspBORNDkXzf0x/XVe3XTJArExlsPygH1PNAVVjm7B+l/S/VfiPZJLEuURmCMJAqsAS6kY8/Xmx7duhN/08SUscBUqxt+0Hniw93Xk/wBRxpZKsjrJ5DuZWdGADq5awe0eLHJvz8v99GtuDKg9WMFlrJ+TkzEAeAcB54HkD60NXLr3wdizEeo/vmqgUPuAbc/UgA6UD4aVwKkWzVUwNEGzYqwKBN1rOUkakKR1ASbpIpNtIgy9NXKtIlMTVA2RZoHjj9ORdfQ28s0SbZdxAWdTnC0ixUp9RkZcgqsfB7SeaOq1telHNXTck+m/ivcc8XxX3+/jTX4Y3A2USoxWZxLI7yF1B7gAFv6AVx/q6MWJK2WqbpMwkdk9Nkw7FYMXLBfDNkKBP2Ogx1TcRtT7L8ygGOQH5uLplFAHzzrW6+PUWPIgJxdZqeAa/Kftx4/XVa6r8ZTfwzzq0Yj8gE2zEyIlYKbQGye7kBW8jnVExKLfu+vRqAJc4siVyZLCnBnuwSAAqk8/TS/dpuVkpFSRSwonKPisibOV8fQeSB9aR/BPxIN5OqyQsPVuiguH8MFqYs1hyCfAqgBr1E6zb7BVd0UaPcTlmB28hxCm0dGQk5DEFipJGPPHuNO4vhrNQzyzIxAJVWUBftQHtpyYV44HB+mqr1j4tmg3EkbCJFBHpl+WdCikvw4oZ5rRH5b99NbaE25YjMwP5v2Ouowfqf3/AO+u02g+p1J6Z9gdXPKo3HCPcgakX0x5cGz9H4/YajG1vz/x1PHtvYDn99axkSwrB25P5v2YHjz7ke49tbk9JOfTXEmhkXs/fyNRQuAa9Mv/AL1f8tE76JJACY1Rqq1bnjxfHOptlVlYOoeowgikBI/1aH6nuPGgNwXkPexq+F9h+wA1NBGFUDk0PNCz9zXF66L631M8qmDLAB7f21jCh513/Fgsy5C1xse4y+X99Y0YJB54v9KPm/2/to2I0RKx/XUsTtfGpodoxIuh3G+DyOaH6+D/AEOiIZFjVhYaRb4vnwXAr2OP20rkkVhoykF7PasR3MaYciz4+p+2hd78WGIyn02kCggYcm0ieZrHAFhQAbqyB71qp/EPxDLnIUfAY4cA5BopmHHI7csrNj8gvuF8R9ZznWdQzYRkypQVSPx0XFiQrGnRTZ4pOdRc7PRhoqKHsfV1LSrMyhHACE85PWJGC8gZKDRqy3Gqxv8AbAOsmK04xLBu4lA0TBlN5JSrV2T47SNID1OJZVaN5W26SgiF4lcoFPcUnkk9UOcWa+AMjxWh9x1hpS04UpGTimTH1aByJIHaoLm/N8WBxpNrb5LRlFYLT8M7YEzSRljLOJFdWshsgXUeT3DwScapq86i6dINwJVJCYSxoKFM7G+wBe7tUk3XGZrxpZ6LwDEgUwHg8AMHBkkH53ZgW8BRwKqxqTpu33ErSKWyzEZDiyplVGcs4uwAGBBHHK8k86Ltu2Uwlxz+CN+mZVzShsVy7i3qfnI8AcAggm/W+miR0thHEyP6kfqiORcLbKQBVPiqBDZck2fA131/4Y3EEIznhYjwkUb5KwQ4qH4NdoX6DLwebTwTNGDHGzAsGaQnub2fxxXK2PJ81lofVFJxiq2yvzhjBOsSRoY3i5YoQceAoNI2dcEEk+3zkX5OmfR+vOIyodGzGbBRYyZWUlSo8UIi3dxbV5pVPT0YKTkVRWNCzi8ZAkb/AFfOKlQODlRuiO9rLE7qjYkAWvLKvFLQxOI7R4rjitK5pEmk78B8vTzv4kaay0Em4Y80DE0ocAYijz2L55H30/2iRwNBtm9IIUPOUvrGY40Q9GPEkntAr9KrSDp3UYlcAxRrCqkExRWrElZArY/5ZBAIY2DyTV6n6pIWYNI8SsncFBQhhHk1lzRRfAzF0L+h0YZW6/sTks0l9y2QfD01IwjVQoqWNmuQMaYEMrY0FNEff7DVe3fTt4cQFMbqMWPaQWCg5AZd0ZPA8HtP1BOT/GssPqHbSoxd8mz7rxiwBX/WIiXiwOH9/MvwR8fHc22+VQzv6alExVQFRwWtr7vU8/Sv11RxQm9qrOOn9N3+3libONkYrmMzlRVQz8ikxYZBRd0eedHx7o7zcSLUsEoRlSVouMVYgMrFaosVOJHP3AOrtuNtHRBFcUD/AGFfeyK1VOh9K/gIu9jIzNEAjOcY1oGUqCaCqWIsV4Ue3Kbc4KKSabfImmnaHcXOyzN6YQrCmKqWOLE/ijvOZqvlBHmtNukRxfg4rIkjumJkIza1f1CwBrwhb/f+ngWfouzO9km/jJYzEQf83sVitt3EH8pUVY8nydQ9c+KfRlRoQrKA5DjEh2urZlGYYAlOasH6WdIlV7mByvgYfE/pbeAGeQRZmlwUEMWNkBOCW9z+hOvK54c5bjlJFcXaknx4uh7f99WCTrn8SdrBk0ywmNRGzqDI6Kq5B2qiSDyTzlqvQdOka5YxG699wMSSUzeuCKxCEe55vjQw+APJYI+noI1tiWAo0gAseADZ/c6FPREYkEsC30Pn9vHJ86D3/VnYG6X/AGCCAAOPH09h9tQ9I6s0YExlBGJAUk52bNkVXHH99LkGCwxbGbaRyRQP6Ydy7c4vdKpAf8opKsUeTR0w+Bet7oNHJJuHeF1ZysickAcAOSAGY40Ca83WlMXxGJIWBW2YKquG8FjjyPJq7ONa5XfPCtxvWC9qnjwOAftwBzxprBSZ630br/8AEyNgn4a5DO1YFlYqQCprmuP0OmkuyRzbIrH6lQT/AH14x0z4xZFSJZ3GCgVdWAPm+/1/rpjuf/ULfIcYsZFr5nxu/fyQf7adaqF2lkRTrpiF8n+mhdl8RPLGrxKqK6gjsphfsfuPGsWE+WOuqzymicbxfZcv1/7aPfqbkARqsX1Nc/0FV+96XgAeK1HHugzOlm0xvg13CwR9R5H9DofUaLaNb53RbQeo+a3ZrtLDM8e+N0PrWpX3IAJ8Ackn2A8knWpGABJPABJ/QcnWlcMvFMGH1sEH/iNYxqfdYLk142Lr2sgWfsLsn6aW9d3xwVUPD3bh1AVQVWTk+4RmPj8uiN1ljHgbT1Aj13ELRQ1Rvtar9xX20N0rpJdcZSykGUEAgq4kAbMEDsIcmrAPHjkaVyLQh3DpOkmRTzTHEZAUaDA0f6X++nKdMUowdqUjGxZ5bt8VzydAdT352sMbUCPWhjZmulRnCsx+vHv7XftqrDrU8kMzQRBwjrgLLd08gmBBschlUCyB3i6qyjkdGnoXyHzT7hY5TGVcxbqoiXoFXhCcjkkLLIbBB8E/TUHTmlUuoYTToWd3LIcCoVAoQlSB6c5b/dFnmtRdOjlj2k8U/YryRIkfBYAiM5JjRYeLAPs3gjQHT94E3jCZgkKqCeQSzSbeNCcBeBpx5+vAvwp11SYftFkaRYSYyFk3GS2rXHKySqxIFEF45VoeAV+41Nuumw7dM2IgEkckHaQDi5APaSo7WGV88XojbfG8EUasE/GCJE9lRkkbNh3FgoJyJAJABaiR5K7fdH/i/UZD6hYGVVZpBaSDJSikFEJwuuO6x7HQajy1kyTbKn1CKSCVl/h2oeFLoRQGRc+ymvr48+DoAdXcl5fSjdTlIVMoDKgUMBRWyMSAKuyrV4Oj9wsksrq1qVFsK/OmBwVUB7balJBAo34vXG8gWR2yXOmxkBAuwo5LDi2YO3B+nFadSN0reCfpOxkzUzGJU4kdvUJHpu1NZw7GUd3PsQfY6ZpvdsriTbGRGVwsIc2tFsG7o7BHpgAZcg2OPGk525uEkWFvsAt+blbGNVrEl2pauybJFASbaaL8FZS4RRHGpyHaMlXL5eALYVzdqdK7aG09unJOQDud80m9BcBzmFoEFGsgAWSBiTQs1X9NN/SC+ukZV2OdJahiloF+WiT3MR7UAOa0qnhj20skkczPJtnZ0VomCu0UmPnwyhuDj99Ptr/6rPNtJVmgHqlGUYFgCxzU8UcSKFcm78jSw05JHV631UNWacPAJ/iMUm4U4EFlUZDIIWMjqvN2qqfAHFA83pLueqNj2k0z/h2gyGLANkxBL2jEAgg2DfNab7DYRNGHMuSh6sIwuvSLAdh7yXontN1wfebZ9MO6MKw4k5YRiRbCssPrHkLweLGRN3fHJ0O+TiK/N1YF5vxWxKgqrKaaTnziK7QBVg3fnjR3SN8Wj9SzmTjS2EFHuQgKeDHjYBPzACrJFzb4J2W0hD7vbszmJmOEsgJdcbQKZAuRJ9uONdSfBKTuDt849qSEApi6MpcyMQ1mmyAsHjEfpp6VUjRk07fAjWOFAuSMQRiWsFWXJCuSNQADSsxa+Bfmq0z6K6lZY5EU2E/GxXIMFMjkgg+a9MccYgcedLd506dGo16eMiqO0jtYQIWNUmagNdcWASC2m3UumJHtTLHTeiuGamRVLg3eD2ZKNuWBtjzQA0sU+Cs3GsZHvwt1YOJBJK1wenSuxA4SOQ815BKobHmMn3J0l631R0SMNIw3A255BZ6xaR3a8QMHCgZGuCboA6D2MsX4PcI1jnWR3JUjEUkUbOxBWMBODYs2fc6L6z0KVix4CCFRnlG2WaIHk/8A5CAhYfdv66z4onyyq7naGS4lQBpvT5DCyy2oUm/Jri+fb31AkjplEtPk/hCwINefHsLF8Hz9tWmHaFuobSJz6bTGRo1QFXjj9OULYPK2ic/cEe2g22rKQ6PEyhmZh5dI8QaFLQLWzMTbfKCOdIos21CjZdPUZSq3KNZWqxAkeiT+a8bGPi+dHRbVGWMqXJl8L8pXH8M5kfdCPHkH66j6RvjHCzo8YWRochJ8+JYOVC0aQmyTx+hvTPf9WikneTcOkMjoCgZ6C2BVUBlS+3Fk6bamgJ1yJtz0VQ+WLBak5BDHJVJAoXQ+Uk14NDm6StgxBCYHFQ1tkPUru4Hy2bNNzyPGnu3M00jpEnrDkMQoZSCMvJ4YnzV2a8EaGUyRMXl283IKC4S0Q59saxNjmvp+wg8ZRpU+CpQ9SIla3IX2H3J+/ihr0Dp8oGwkidFZpSjBjIRQA4BFUTTH3I7h9NVH/wBoktykZB9/UcH9KP8A1026rIR3t2UVFA5DiiTZN3QBrxwBrTkuYiJMhfYytkyJGyJ5F2QKFCuP/PbXWy2HU5wz7fZsY8iAQkZFjg0ZBZH6Ei7970J0lX9WUqWIe6LEg0fHvxxr2D4f6nHBtoo1kelUfQ19R41ya+u9FWo2V0nK/a6NQQBRSih9tc73demmdFgGXKvIUkKW/wB28j9gda6XI/op6wqXEZ1RGQ8kH6e/jRLNftr1rPF7mWNRk91+5Fft/wDupEgvzoiPaj2s/wDD9tKFIWbsuXjTEtHKWSQgWEtGZSa/KcSv6sv1002HRvTRVzJCqFFkk0BQsnm69yb0SNuv0Gku628pn3aAyAPt0eJsSYwxLK6eMbOK8E8Bj4uyC8YqsnUfQD6LWfxfUjLMPMgidVV7AAzaJQW482PAFWKRo0jaQmlUFjwfAFnirJr2A1WJN8Y22UskqLhC38SGfHj0siQnuSyXj7BSR41V+ufHDPI0sJlSCTbKzWFrFlHgWGDh3C2GI5aufCnVGLYy+Netod2kaXxE6A5j0z6iKUYAeTmyfMPC2OL0n+DviFFkWJw0pzPqYl1yxvFaJCZAgAZEGkJu24T9Xm9ZtqfT9IvtWQAsFcTJlHFkZAClMqFSWr2Hitbn6NI8O5waNDDIHY5sZCuHpSsGUlsFZSW8iyTdVal6pUGbrrrb2KYsoilR45qYFhUivEqKx/IAUJJyBZbx5ICHedRkWZg7ktjeQILepTFOCKK5gMaAsi7vnUhT0jMzELUDiP1Q47ezFY6Fepmh+QkVldUdddZRo5FvuCfNkSRLEFr1fxK8hfHHlqsFSRT3WuBk0o/Mzbz1HIwjtlVc1VWR1LteAAr8MuxITg8VZ1YOn/EboSVeRSpCo4BNxmTJqWrdQ1D/AHQKpq1UJdw4zU4liM3BQePw3plbsKqysQKK8tiFB5Z9PkJDSPkWwc3HRN4t6eZemkfIljbse7trwC8BXuwWDrPSz/Hum22ob1GJZ1rLFir5AepWGZyPtf01L8L/AA+snqmWRgYPRzCkBs8EtjSmzbNyTZKkke+q6vW5YgQrGP0oiqqDUoDDJFIFAMvoqSVskHg2ObbD1fdepP8Aw6tNCLLUCxkIABKNd3jkL92APubMavIs/asB3XtjAJlhykWX0gy4oXdTK6xZX8qq2A8/Q+5APkvU5n9QKiyFVN0DTWhAJy57sqN+3HA516b8X9PlZ4p1FsFGaLVn0Czx2GUH5mDFfluMc3zqqfF3w9LuI7hVXG3GUvdyWkPzKoNdqim4BpAea4MX2FnwmKJeiuV9T8QXC7HvuR2CNK134BKmx54PGhtk3B9RJBkKIWrC2AGGRrI4P5+/sdQs+7iQxpNlEwaMsh/DoqS4tlDBcWJJqq9+Nc9I+JHhVYmClAaBxBZRbMKNiwGkc8/zn24074JxlUrGPTN086MqcHKBVDX6ad5BZ2IpVOCWzWTVEnwbF8N/EkcE0Qdcyh9QyKWpWZBC0oWPiUsGK4jwEFZG9Vb4f6gzMIZZWSIuC6gnE4AlSQBbKDdj73550w6P1l52ZSMUaNsmIY0a7Bjl3U35j8wNHk8o1WSikpYZ7Xvkg3xUeorNt5gOLwMnBMZPIY9oteSOLA0D0zrboJLhDom5SIPTMXZ2HeAOKOZxcCj22RyR5p03dBZ7iZizOxshAnrrI8tCzQDAIC8bCgvuLOitv8Qgu5bAhJ/VUSAAGcJ8pPCRuokrkVYNCxwg+3sy8ybs/wAdCcysSybhGOR5czLuMaAo8Ko8jHE/prnqI28kqQo7VMrSsJCTSxth2gg9xYEUK4LEcAjVTj3AZMXixkO3LmRhciupjODWAz4DgVxcrXRFnmHf97bpQ0W4jkqKgCJAMm9Jq4h7COOB+JRBsHTKnyJtayh3/wCnkG2bayvuWS5JJSVJqMRx/hkUTTiwxyq6Kg+Bq/8ATo4/4YCB8kC9pBLUCMgODY4I4sHnXms3WjJstjCXSJZUHqNlGHMzcucSKHcxoe5YkihqxfC8kxhlWKmhfPBmKmgYkSIqq45IMKIyWyW54Fo6WQ7Wyv8Aw503cPM27khIsSCIvMQ+BXLMee3uKnwafi71Inw4rg1IYpppWjWMsuILLnI6j8i/mx4N+RZ1YW+G551haaOFJAHWQWGRFLGii4m3KKoyJtQ8lHnS3qHRpEG32rwxS7eFo7L2fWW7d3HPNjIgAksa8aW48Io3KTtiLc/BaySkLNDHIqk/w54d8LS1Jk7eFs9oAsDjSjqm1WSWRD8ykdp+pNcMPp4u64OrbL13c7qKPe9Pizji3EpxoKX/AA2jFlmAESg0eLtAa1fJkh3O19aVBXpljwMlxBsBhdEG/BrTtWQPGJNq0FvG4j9PuFOMhgMSavuNg+x4OrB0vf7ncuI19KVQKYOny2Ls0PPvq19K+HpYURpVWRCciMjSZ9xLLib5PLDwNFQ/DEaGOYIcgxPabA5Iv61Q8eNLWDWU5Pg3cAlWRHW/mBpq/Q/8NI5unIGCgkOxVxmeCoAKsB7CqHj7eeNeo9S2ySxyCJ2DtS9rV5IBPJo0CTQ+/vrzv462bOzvH2x2YgxvjABvp4yFUDyV+ulkqyg3YQ3w6VQOSoJFgCgCPY3oKuBbYmjwWA8Ej6/bQnRdg27VL9VSkeC3mvcS1sGUUQt/Kf5vfU8G43aAqXmSiaUJlQ9ucPNckfUnWjHuxWy7xrfvotEGounSRyIrobUj+o+xBFqw9wRY0eq66jzVExFH01J48D9tYkZPgaG6l1yLbNGJQfxA2JAGNgEhTzdsQFAANlgPOg2WhCwnpm4WeMSRsCrfuCPII9iPcaS/FnxG+xlyOPpeiS1qeHshDfgFmsAEc4HXnI61uWimEUvpIkonC5qApkJVKYfmWSMkjJQbJxrgMOufHj7mLcwsuJkYekUCkqpssr3w3KHkEkgiglHSnStOngtE/WP4np0e4OIV45Y5RJ2lpPSeMqAKY5M1nBhwOPrqizdMUtIFiEeGA5kyRVLUTZI9SlQ8fa/5dG9N6IN9t9r6EhCQrHFuVBTlpHhSQhhIXBJjDC1AJFjydKd06ruwuBxIdVBIEhAciNyrAYhuSMi3aSe0aDLQRN6yLDYhI9QzANgDX4kRjay1FrhIvK1s91+ROnTOF3Kq8io0SgyKeQGdXUSW2TENaUvnNya51Pu0YbHb4yBkZ3skxri4YkgizZBfiifJ4B4A/Stm8hkVZACkLOyNGzKcGph6a+eVUlqsWPvrZHwa3ziRIrxB7VHy+ljGQoUHEEAZMSfb1D55Jmh6wyblBgSPrO7KqH0wgQuoPaCCABfmuSSddb/ZlEeLBFKOrj0x/wDWUX1BRkoMAhBFZEp48krpRuSZJJldY7OQU1wiswvPIg4qAAR+UD20Ld2Ua0nBJWpd+KGcMBuOb0w0MilSWVm+VSuWR7+aRgQRfF8HRHSd2rko4haQoo9TJUIPqWxvlWtBeSjgWeRyLFtN/tNntA0SYyTQxsAJlZw8q0rhOUDUoIGJXtFAmxrXWPjliZikZWMxhS2N26uyOoeNWxVlFgMwu1o8nWrIq1JOKTK4+3e3AjIU5r+ICqlkGPyADGigWyD4I8HXEXUkjhkWeCyNr2DAtiGkxtQw7ARl8vA4Nn2Ih2bJJt4payWX/MDLIBFIFoBWUqQFZsiR7P4+YiT7g+pMIZGZs5IhaKHkxYAH1CpByLIbsGgSTXI1UC2y7xdflXa9NRVBEtK2WOLKyFUUkng2yrR5sE1xRqm46cYS6cySyAxkyEMsbqWjdlQjFgzE2GuwSOL0p6VuiYDODNEqPCqkG+/H8QBjygMbDEe4I57dEx/FEczi/VzVTleI7r7iWY8sSf11rafA+np6coyt57X9RH1xGiB26kGOw+Vd5JjVD3Xyhx8H/mdL5OhN6ayIcuxnIPBAUgUP5idWLqO6gaQfhu7VQCyKW4HjEG7r20u6h1BcYgiSQ40y+orU4ZxRBAsVywI84kea0252sA6WlGErkm6xV+V8kuLAtpHJECSKc5RkG/VAIXjHyAbC/XytVemLdAwPe5VaKnBTJnJTMyKIzynbRs/cjyAX0dY0/ElUM0cX8QCpag9s8YYmmoKihV7gTKCb1F0vp4EDZFzKpe4ngLRECPOjIBauwDdysCo/2jqsIbld0c+EGxQrMaLvG0W3iLESIrM8liRaoYIGIWj47vOeuoNs38SYM09ISJeKogWjkKo1ZwNsxqr5Hvrp27XcFHKj1I7YMWelDEooruMpsHlQrEvyTiDqPcbKNymRRoI4EEg4zVmV5FDMnEpLqWsZCl8CzqL9rpleVyMZdxGjHECVg57ZEqFcFDsOSAjdqmyT4JBGdaD2O8YRRembCxZhhEvJ5dlAFFwrOIihIBxY15szb9Qgk3ZfKPCI+XQoZC4K0UN2gVSCCK5UWND9I6QZ0Kx3NI7I0K2vyCXkEo1KQgZitH5iaOlk03gdXQz6ZvWEjMXVUVAqHEFnjlaNsB8wUM4KWWIpwFC0tMPhn4wO23EUcuCxSs4BXhc2Kngex9RmLCq7gQfYC73fGANGkapHSeoHGYtXZ40IZqEkbVz3Z2ee3gT4T3PpujzK7LKBEHW0LNMqMFLMe6OwCGFLbiguR0jTayG0uD29Tf8AYgiufeiD7f359tB9agDRE/mUWv8AtAeP0OlvRPiSKRJDkqrG+J7gQpoHEtVZDIce11qbdbwSA04FqwFYkgkcEWcSb55se2p221HgXbWRbsN3hE0ccaLlkz+QCSS7kAA93k+9k6S/CG+jR5toJA8BkZX/ABgXLnAuFFBsBVcAeTdtZ1ZUgUng0R4Ni7B4PbwOKPtzfA086ZMDwwXP60Lb78Dzqrl7tpNxxaCqBOPfX2JH9wb0snWHblmkZQCPB5ckHkgDmrr7abhDndflofuSf34/bUG92UUwHqKHC8j6j9ua48e9aoiB53u4USb+I2O6RQKMkchJbAfNQbuurq/H1rjSqPqLSQ7aJlWMHcqWOTAvTF2yIII+bz9SPNVq3dS9TcsySQhFmlSONDRkMYKtMxYNS2ikYjwRySTQq3UPh/19zOEIRIbxGTcsfmGd3+554GjJJDcD2FUBZlZ+LBjDHG+OQPJ/XzqbbzKgqpASbORBN0BfcCa4+uqj09WglH8RFGVJ4RlJk+xF8f1P769A2nW45EDKhrx3LRH2o+36caigsrnwbs5NrB6e5xzytcPBUi6P+sCSL9wE+lCyv1CJGRXaNDJeORonEW1Enkgc1rieIBHJOChGJayMRjy3H0HPGvIOtDdTGGCamm9NaEgPcU9R7YjtAeInigzBUu2GWrWQjHdlnpnwj1d2aTbbl19eOR1UWgkZAA3KrwWCspLAKCGHHk6i+Ofh4b7bB4GDSxMyoyEGiWCv491dBx5FEfpR4opW3G1DuwmQKFkIdZGjCEohSvqmHqVmQwJvGw56Z1CeCPqZBeM5LJDI6ktIxObFldflAGLGr/ENHhdLyX2UxV8H9CbdQOE7GBMcgMalSRTK6vVKeczYU2f3g690k7GSNfSrOgpD5CTCu/EilOUl3xWRBFeWew6h/wDMEm1SWCHdgdkbQ90lDuGRaNCS4v3o+xGrf8Z7JDshJPHCDEysBNJcYs4kMa7zR4XmyBoNsssStnnPRJ22zJJIrdkzJIWLUVEazKuApSp4+Y33EixxpR1rrLjf/wARtPSsMPTK92NY2imgrLk5UVVhq8jje9ZhFCaCh1fAIgvjH1Bxxw6VweKAF0dQwSAieSO2WMxu4NgW6uj1VEKSQf8Ac5JuzXSklLLF1I2rRZf/AH9DMjmXaNK6jwcSqSc0SxFiiL8A8aQbbbGOgsoWV4+1ispkkWYiPFirCjZ8gHnKzxRabtpd105ZmjJxxUSKVdTjaySvGyAqw9Pgo3/2fbVegQYP6gyURlaq6YKQOQT3gOwUnhCycEeNPzd/ahk49o15yG9Mkl3249MLk5QKcvTUIEVwfPlu5TyC5IaiPIY/D00kdpJ2w7gyRzJKwC3iaYsB2kspQPXcGA5oaS7TeTYtEQY45Emb0+LsrmXf8xNIFDMPrQBGmMe2PpxMxyDZDLtyzZ3aig5x7gB+w540q1OllK7waEY60+m3WLRv4hatwY4wewCNFjjcsqwMwVASC1jIAvVMReXnQTThMY42uNlaYhAAkcmDSAhSuXEUSNiWpiL50b0/qypT2qtKcBI4yIAIckH5s8VoEc2eOaGgmWVxB6MiqXTEqeIwYyUNccqAxYkmwD9uZrU6mao6NX0/Rltu+CXpPWZpAWUGhIGEhZiVkxVFHqVR5NhOOGa7A0d02MSTxxjsjENn8qo07j12Wl+XE2Aa+QAeToKXaEqVVZvSaRmmLtGLKA2+EfFE8fmHA96Ot7Do77gSCeT0pVaKJlkZKlICVbGQPl4PGVVQ9gHOd+CTYbgAwhS3pybhm+aQ20bB4xjHLiHRQBnQ+axeJpluOrvvPTjhUeskoRHdIhA4ckAP+Fziii+R70DYGlGxiYNGHchY2ZfwzgSHvLvC/Me6uD4486m2O0yaSOGMlwySxrZ4UBLYUQGYAtQN3R+oBXcrBXYN33Xpdn1Hcpt5FitlNRpG6onzCiynBAW8AAgVxwNJOt9Xn3UUrbm5ZY8ULYItXkS+IUE0FGNVxISfbVp2QU7ZZJXXlHd+xBJ+EBEM2r5RjZ9yQBdAgon2iTAO1hxMY5Fyq4wFkaiF7QxLCyGINe1AM5WwUksgvUemyRbYxtzLKNrDTkKY8F9Vh/LiAIxZJqybHI0rXdusKGGNkANsA34bkRC3NENZBLWKxyI1aN1vEidJYzGDA00wEsh4Mjmo0BFMDQJ9z9rJMXoXDHuJAAWdSFE/nJbUhEy7ivBDRilAFAAHRWpSrkZaSk8OgNyPXphLTkYshfwGQBqFgByvcaJBfkDxqTZNkc41xKRusORRYS4CsxK13O6S9vPdlyQAaI3WzcyMqp6iSqfUIIWJm9SSaNcwSA1xs5rzQXjUXUFhl2+3jhiWP1WlEchY5mSywJJAbFnYIvH1JHA0n0Gkq5AN7B+AoTFTIkSMfUpywzUtwQMTfOYPBADDnTCXdbhDEBGyXAYoVW8ikg9QOsii7dVL2eFsk1ydQdX63EHbJpFxUIuC42uJBTFlFgNZz8kSt9gOoIWO0k3FlfxlXbvkFQ2zK7EHiNAPF0MjQ8UTVIXdk3t+oBIWamUtt0Xljkxp4jNyCoLFyo59ru+NCSy5Sxicfw4lQJKQrHONVC5FeGQAooryLJsg8u5tiU2areZdIzEqD55ecXZwcmGZL+StmgdLv8UkdJ4z2MZIliydmQuJD6jmRgclGPuaA4o+SYuOb5DJSxXBGxdFn9aRwkR9IxjFsmyDRgUbZVWJO4qvIIu7Gpd/t44IY5Wj9SOTxIAo57rXAtlxg1miPvzrhoPUaQr5WLl4kEls5CAoQQzW5JL1kC58itQy9HMbQwg+pkiyO8RMhHBYKAEtfF1RJsXYFaCnQHDwBbXfpGcpVyUk0F80eQPmHjgWPOnXwt8RGLfJOqtguRCP9CMCPqCVLc88/bQP+FiRWlET4RyBBWbFLBP3YgUASf5hyNDDaqsyotBucqa8SF4BvwwyYEexBGi2qErsfTfS+px7mJZYmtT+4Pup+hGtwbZyX9QKcnJqie0cKLNflHivJOvAOm7t0fFZCtWD3NjbDHKgw5A5B/1R9NWzp3V23G7jdJHwSWFMbfxHgGsH5rALE1zzpHKuxuna5PTetQRLE0rop9FCUscKcaFfT2Gqr/hDxbGN82QumbkBSyO/cO1gQVNhGxrwD9dC9Z6285lh9LON5UW4wWkQEnJHA5BwFiv5T9Rdln6ltZUKt6qjxRTcJ54o9oNf20yyJOLhhlO3W68pKoDWCGUDG65u2Wr48H3++tRb7dRdqKuPse7kfXtPP66F+INzHFKsSMZUdQFc9pX7MaAJHjI/8tKTunHasppePav6GjY0lO6oB62rfcD299Vv4w6RCu3l3IVRJFHkhZmC5qxZBQ5ouxFDzlXvqly/EsW96Z6M83pbiJ0aJ/z5R9wZO4U2Ni7FEjVm+GviGDf7dtqWlDlCozI9RggAZ1mW1fyPPdyby86q1QsY9ysdQ6usmyj3DyF5nkaKY3RijUhqUoiubV14BJqV696sfxHvS/Snkf09wTGhT+HZlYIzYCUA3mVZgcSKJBBPnVN658NS7OHbKMXfbOZixjYM4Vg2fki1sRkeWAjv5BpEerzxqgil5x4jXFs3ZgPS9JfJBkN3fdmfmAGlLUmsYCtruXh2wdTLFJHuWbMoCpBUFWxdLEhMagNdc0QfOt734rn3SIHkeQlmjVOxh+IAotQoDseApNVya50u2CMVnjd7jaONnf1e0MrkgOWZQ95UQtmyAKJNcSdQIjk8oQzeVAUOSoBx8tIoGRZicS9+eW3yH4yND1hfTjSRRGVUoFAdmWaR5iWsyHO1KFgSaZiKXSnZloVnjdqXCwCynmw5agTZxSiRda52chZHU9tIG8HJgXTEkgc4kLRAF2ODqCWMRt+I62B8rEEsbalJDWoIC9x/n+lnW5wZvaO9vstxtw7ruhijBVgWSRlZ5EyCYJxkAWYkCrQ8g6wo7ONuu1EjHcSn1ZAyI8zWKrOqqqtsr8UTRAbpJ9XEhvQLkhowzAxqrFscmGQal5L2tHxfMkm43MqxL6zn1y0qxBSB6iWbDUAFGPzZEjEE8c6eDi1kzUrwPdj8HbhZA8sbYwIy9jI2ScoLUG/lJY/ZEAo+COpbRBIMExjIYYh8TCgkYWqlgRK5VlBsUFckkXpDD8V70EbV3c5Ni0ciq11+VieWQ+9tiQbNjQe4Mn4biIDGNV8XgFpmHaAaxYWPNNR50jafH5K1tfKb+RPLB686TFmb8UOAFohVVZJZZFWwi8pZVgRZON8Drd74Q+lFgWEEryAKoJSK8vJskG7YeL4J41NN0aXaSiJzHOkzgFQfxWQnGN8Caj7gD818LdUNCpHgscqxZwh5jlRyCjyshUWB4IDL7L48aFrsIrvOL8h2x2KSQTMv4ipKFU5CsVKyKqu1sGtnFsoVru78a2W5SKYhkctRkjGZUhzTQoyk2QlkEAg8tZPFD7Hp7vFxGkULqGEhoqzB2Z29RawVIlZcG8ZDwXGoOp7ZiJWZRapHJzioxkJKlRnTiqrHPx71esZulQVudqZNqkyEByzh1BW7XHtrhsx3GqquebLMJC8iGMo2MhXgliCB5yBAsEEMOL8gjRGz6o0W1FMGzlXI/KeY42rEMMyptcyGPBqhrIJ5hdyRoCWbmQfhRqSGYBbLp2hQTzkKI5s7bbyQynf4CY0eaKaSFpMckXvpiCR6khwX5QPUuhfggk+REJZYUijxJdS18HhixHN/7N83/TU3TJsCyZMLtgzks2ZVVLMoouQqmhxybF0LkChWZQrOWbtZO3mw2KyZZOVoeAFNe/nSWUqL7le3cLNI6+mWSwrM+V5oVEndfa2d/fu8V5d9W+ImklhEyMACS6JxiFHZgQvaqgquQ/Knn31Bvowq/hoGFBhGcmc5cBji/P8AtUSfrS0IP49TFSRnInJMGXIUlYkA2UkZ7K/rwKvVFkEXtuh3LupPxaiYYhDBeIwT0mRcUUlR2uSfqMC3NAqthvGbbGF8o2EqqXYglWkdmaw7KYipTJiLsE3Xza1tRMUjY3x7R3m7u/pvkvBaUNFdN5yBJ45yLpon3EvrPUKSepJlIBwQUBAUm3yUIWBPze2lwWW5q0dbgJBuzCIWklkDQ1atfqMBG8Ttfzg1X0f5jfDTqnR3hhhhnLxOEaT08R6eFsSoKg5PkVBp/BXtHDaVLvktZIY48omKxBo48WLSO6B4+RGUJZVYkEkjk1Wo99FLDnBm7kJyULvGWlcR1nXiolAb3oAVp6TJNtS7BA6oxDSSiV5YyrTFi+ca5dig1+GSOARiO43yNHdRd/Q3BQZmWnD+mFAZGQlRgSyquYKgHzbEnMDSr+GEMe6UoBI0vpFslXCIx3woLKYwVIPPPbZB8HEesXgeSPawWhxdlJZlxCYkgyFnCgF2NAAWSBjpaVjqToI226RVeVAxm3Kyqn4vfgiovAo1KJQVBagVJ88g66LDMduZAEkLsEcFvliUYJEMTiHBLDv9ifPsH1/p8yiIDamMq0ah2ezkVyUEAlUvhrSxRQGtEbbpMke5l24LkGYHllpiQDZINg5V9Rx+p0G8GwshvQ+jzIZmdWVkkJjGB9OyrKe2OzQlKsKIBw9stcdM7dxLNvIFmMmd+IwJKVlIYkUmClKsnleDzY0u5dtwUujwoOR4I9mNVRo+9EVwfGtP1VzKec1UgICQeSSKx5BvJua8AXqe51wS5yWLbdM20uxsi5ZVOLqlViBHI5KjFQGPCWcsTWV8GfAsmz2m1IaCU7ko8pDRysoUlggEigqiEALkaP1rVe6d0x5dvLEajEKN6ZIyLS5CUluCVBBKkKfN2CfLfY9WWOJF3cjrlC0XYbUGalNohIIA58Gslrw2mTxRXbi+5L8Kdei29fh+u0XqEPGRkECBRmWrEhB3fN49rrXqHw/1htzF6hheKzwH4JFC/PNhuKIFVrwfcbNTPJu0iKwLuDgoZUiaJXkhAjwBYmgbAI+U88jXo/wx8RxQbYgTbg+ngrRywtcRLBMQS2PDHxkWo82dUS7EZ+73Fz6xskkWmiEn6mjV+QfY++vOupdKi9V+2OTuIB9QqQB24kChfF/73nXprspJU/MBZH2Ni/64n9tVXrOy2iy1Lt0LUO4tCMvvTSK3m+SPIOiSR4MFIsqHCigSfIv7gUPBoeRXvWj9t8SttZ1mgxQqGIS+ACAPT7vmDHnj3JPGod9vFlQTGHEs7kCOZFjBUDJjFgWUG7ALi744GlrgSLYP6H/iDXNEfT66PJTc48HoXxP8aQbzp8C8zP6mLZCSL8YAY1TUeGYiy3yi6JB0kbr5VoY3CF9uJQk0ULM0fcFWQ18xuOgQFPPd918kjKtUpR5FkVY7HabRXWOjgO9qUjI2SQaB0qXdvllmbyVkYuMUbIvZJ4u7NHm+a50uClYJd1EzlWCMCUUKSxESswJlJJsUBldMAMWJ8Ea0kKOm2FpiqyWFR2IKuSZXAFtnWI8UAAaAvRjbkOmMsglp7R5GtVC2XkZRbMXNWCCTiSCb1x0d1dhjElorFlAILkuZAkar3M1DAZE/MOKAo8mqgjZbXFHWZvRLYBMyoYD1M1DQ8MgbBBmRiASb7joHdRRRuwKKrOe8yBmCqwHKqnPcCSLo8g8cEHKjs0800fC0DFI3LSp6eTfQjgsw8AuF8eB5ZMpWAVGtpFRqpWSTIZKuOUhUENlfAVQANI0FpMY7uZJPUj24/DZhkjKVhXHErIbjDBiqUQS3nk0L1N1jf7fcPFBstv2Ia/GYgEBLJJLkYFQ1NxzXHjSibbJHeLBgSy5Mvc6+CVyFRoGAa2I7X82DrPiDY/wsyII5FZUOT5G2PNDgUhRGUEDn6862nFRVIE8dwrr25iVI5BGwf8KSVCmA5DRlQW5xKrSsooA+55C3cTKk8aMzosRxZkbvViS0rA15VmK8DkRjXXQukrLuNuMi3Kvl5XGNe5SCMvnVUHtXjWtltLkVcmeR2ckEcGkLEE5d7B1XHjzfngavpTUHdCyTk7C+oSYRZlEdKEaqwbJQbbNCGFHFK98cqGmvTJWi3LelNHHGUkEiRqWWNQiyylchXpEqO6zytV4qmbhmztuPSoU9mypJrkVXFY/oPHh9s2PqBiEaOOJ56j9PhXjzKm/mZTS4t+WPxR52pKLVRVDwbk7ZDt9z6m8R5hn6gNkLw0sgIEjAnvNOG9i1AcHRu9LCKFSyvhGHDkXUbdvgjjlWpRfnkjwBR1JnjaCS3W1YkjFjS/iU0g7GCA+aFr4PFm7LdwyHdOUKQpCWEauTiz5IkIYqcVJIBIq8BYIvUJWGDTdeQKPqZC2yBkZ5FIwjAWV0Xuyq/JF2OQK9zrIpGMdwsjy5qwqKse4Dz6dLbkgWRwb4JIEHSzI0QCqSgaRmvCs/TpgMgb/Dw4otdlRYvR0MLQzOqUU7mB4A5ziT5+00Hb5uOTfm9M8CJJp2FdH6iTvvTkYMxcDPkWWpTdMGHJBWjd1q09X3wVU4BF3Ry+QGkVvm44eyQL48aofQZfU6mjysopnlLeEGAaayAe1Rjdc1QFaum/iLz/iYsywIpYYm2ZmcscRichi3HBux7HXR6fRepJRic+rqrTi2+CHb7yBlknSGEOGjRioWnckl0y9MYlrHnEGuMTwYBJs1cjBQ3qOnpxyqssZFjgqykg0RVE80wHuUnS4sWBQdwAYC6YLVX9QK4+mhZvhbbMb9Ojd8O45+vDedeg/hur5X/fY4f/R0vD/H+zsdB2n8MqlGJeRO5JSQGrEBo/WLIB8tk0KscDkkbJHftMgdO1UJUxAHuyTKMqW7iRWVlvm+o7fDsQVVIYorZhC7Ylv5jRsnk83fJ+uoofheONSA8hDckMVIujz8v3v+n0sFH8O1fC/kePxHSXDZPtemR+hHGZGAdmtW8vJyQGbBfUClTiDXF8EAa5g+H5Iish3jGRZXMZdUOLgqkiP+JbKQQKSvP1JGotp8O4Mv/wAiZwpBxdrU+ODVErQqiaon66edXVZlK2y3K0hKt3d3lDkpBW1Uih7DSP4drJfp/I8fiGk3+r8CSDpmSzhhC80rOLJwj9PnsURsQFsEglhwa4I1INqZduqYhJY3ctiJcZFkUrI5DoMpTi3y3QYmqJ1Ns9jIiLGZRQVvlQYlryDY/lOXJo0fp4qJtruGhNlGdQFU+wClSinFQQoK/Uk39qM36LVX+DKr1ulzvX8E3xLsJWaOWNIpFJje7wLPaqRID5sqI/via5PPLdHlk3SyM5hGLMpAQk0R2rywaw3d54sVzzztJZ1LGSCJyVGJWRkUPVElBwynk+1cfroqVyVSsmtLdCTiHLC+bN0CaNeODdnU36PU/a/4GXrIfuQm2HTrXCSCUD55CA5PzdguzmxHNZcf00Ft9mUBwj3CU7LbxRX3tipNhZKojmyASKJrTv8AiiYijRNyaCmMMoWzxQGPIo/a/tem/wDErOtq+KqjWXullyJVytKVxIGQ9wV96OoPQkrw19UP1VLhoq0U3orGyIjKvm7IfiyzBTyxUXkbr28ak6/Cu9RBA0duEDxrKva1hmKxyOGKLkR7WQfHnQXVYp9ssa+m6SS2zIw5YBn9MWLsnvIBI96sc6nh6pHAU9WF0kx7sVjCk3xTC7NWTfNjyfGoK4rgdMcz9LgjgjSKbBdvI2UcrKpllq8mZW5bEcUTxx4ABWdD3EwA9NnUyTc8qWkjbM0vaxDjFiQeBjfFkaD6tP6qkKjCNznZJwLd3dRNFqUi/PafpovqvWoY+nbX0dsU3CAEv6dRDEY+oFf5ybDWAQG+b7tHPI++uOx6l/6d/Eke6gcgsJRQKyGzgsaohDUAysFL2Pdzq1yS2e0Iw+t+/wBPl18+fCO33Jgk3EcYdlBKRnIiUO/eQoN4Eqcl8NRrkAj2zpe93fpKZYtuXIu45ziQfFBo7HFe5/XTquCMk+fJ4J8MdVj/AIXfwS0C+BiHIJezERV8ghuQTxZPtpeqGONVMbiNcrfHt9RiATmBTfKFq+DxrNZoXkqv02S7a/XDOwAWN1piwAbFlHyc2S1G/IyvXG224JMqGjt2iYljTv5dyrY/MDyDVBTZPFnNZpmHTVqn8wbpcPqTg0UiRnlNUzBF5x7j7CgSxrzZ0yXbxYeunDqLTEItguO9kFYVTIAoJJVjdVres0rYYpIYdWtdvEko9OVoJZIk7SXhljYLeAJSS40emoFW/mGq3toiyukjC1jXDzQSQmRms1iCvbdG/UUe+s1mmqhYtyZNJL62cjSFnLIRyQwsMMAxFhFA5a/GIA1x1Dd+o/agVAvyqpKgjmRgPC2RZxoUAPbWazQCMOk7DJdyWN+qoRfymR2UbmgaNfIL8JRBPtqP4a3cyLM4iWWBBciOFIxelYgHy2K1+g+us1mj3BeLOpdyajaKFfSgObo5IjYq5EbuxI9Ru70qHP4ZBu9DdY3RO4meIs8bKY/UHi2F9zAYk+f1A1rWa1CqVjPrceDJGsoaMsIczF6bmM4jI4t3x9zCiQ3t4OuOudbwdTFDDtWdSjekArhclNlQPwWIquSaJsnWtZovmhmtqtBvSPhn+HA3O5aAxY2AwZ5MziFBVSMTbEFrYDA8XzoXfTn1lMcZWM0I1JByQOyHF3sOeQbPF37DnNZpHyUS9oX8PdPEE0sk6ZhID6i2i8TMgILf5asEZrHjiq8jVgVV9afEswV1TJjy3pxol/Y0OR9b1ms16Xw/+6vueV65/wBJ/Y6La2XPvrNZr6JHgvgxZiDfuPGuktiB9dZrNOkTbJZF54FDWpP7VrNZpuwq5IJJhXg3ruGTgk3X0vz/ANtZrNTZZPPBz65PHv8AU6kgBIJ+n/n76zWa10ZK2cSxZWCSD7MDzWu9i5jcV8osMAeCpFe/F/rrNZoamnHUg1LwGGpLTmtvkB+L9hGIxMMh/lBpInIX5SsbleV8MyeDWV//AGEijptjKkkjySEIGJIid0D84qz3UeYHnn9ONZrNfHyj7j6mGcEG2mkDRy8MIqVQfGIYtiQtZAljdnmzd6fwfGQEhk9H12nVoiJyGxLNXYVALL3UQQLHH31ms0haqWPBY+mx+ohT+GCSze8bCPbsYVuyGQYRY5GrHhio8k9y/DW6kCeru1/DQIgiZsBGvygNGAHAJPcbP18azWam5OOUWj7nTP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9" name="AutoShape 12" descr="data:image/jpeg;base64,/9j/4AAQSkZJRgABAQAAAQABAAD/2wCEAAkGBhQSEBQUExMWFRUVFRgaGBgXFhoeFxoXGhkbFxoYHxgcHDIeGBkjGxgeHy8gIycpLSwvGB8yNjIqNiYtLCoBCQoKDgwOGg8PGi8kHyUsKSwpLCwsLCwqLCwsLCwsLCwsLCwsLCwsLCwsLCwpLCwsLCwsLCwsLCwpLCwsLCwsLP/AABEIAKgBLAMBIgACEQEDEQH/xAAcAAACAgMBAQAAAAAAAAAAAAAEBQMGAAECBwj/xAA/EAACAgEDAwIEBAQCCQUAAwABAgMREgAEIQUiMRNBBjJRYSNCcZEUUoGhFTNTYnKCscHR4fAHFiRD8WNzsv/EABoBAAMBAQEBAAAAAAAAAAAAAAECAwAEBQb/xAAuEQACAgEDAwIFAwUBAAAAAAAAAQIRIQMSMRNBUQQiBWFxgaEyUpEjM0LR8BX/2gAMAwEAAhEDEQA/APTxreuc9Znrus4aOtZrnPWZa1mo6rWVrnPWZ61mo6rWtc56zPRsO03WsrXOetepzrWaiUPrPU1HnrRbQwNklz1sHUGesz0KDZNnrRbUOes9TQoNkutYjUfqa0W1sgJeNby1EG1megwo7L6jMut3pZ1WckBEJzLDwa8FbF/odBtIKyHPJqJn1R91NKvP8S/kihI1+/t9ARWmfw91tR6gll/MAob2AHPtwP10LHofTtxpN1hzhXNZD3seL40x3O/DBSrAg3z7HVf6vugPOI5Py37Cufprn1E2ysHRB0Nb3Uf2yb9lP/XV19Q6qnw3F3LKObLJ4aqADEilNmlPF39tN95upAeMlGfP4RrEFwRkTwDh83nuGjCaiqZpR3O0NQ51mWqTvuvTKHCyOCIyQQmQyJEakn2pmBr3rXW867KudO5xikY0gY9qkjz47q/U0NP1UL02XO9Zqi7rdM7wh2LEfNwT2imfgEAcA8nx7aBhndUgYM4lcKAQHbkj2iLVxfg+NbqA6bPRDz9TqTbpftz7cf8ALVFl+I5gjuJWoyOF7fy5lV7a54H9ddp8R7iPNjKwKIgsoF7sAzHEggctX9NHqYB0y8bi1UsylQOSxHsOdJx1qBiAJFJJqvezqsr8S7icKsk5dWSRmX0wnaWEaDwLFpJz75fTS/a7weUK36qKhCE0Rk7HPwTin9Mh9tCOpRpadnoQW/GuaHvf7aru038rSKuZq+eB48/TToufrq6lZFxoUjrMv87fudZ/jEv87fvoQqv1P7f99Zx/4dWs5NzC/wDFpf52/fWv8Wl/nb9zobiuP+f/AE10v/nGsbcyf/Fpf9I37nWz1OX/AEjfudCmRR7/APDWerfgX/XWBuYT/icv+kb9zrP8Sl/nb9zodSx9q116TfXQNuZOOpy/6Rv31v8AxOX/AEjfvqD0T9dbCH/81jbmFL1J/d3/AHB/trn/ABGX/St/5/XUSbNjqZNl9ToWbczX+JS/6Q66/wATk/0jf21MuyX3BOpY9jfhf7aXcg3IGHUpf52/tqVeoyV8zX/TR8XS74ofsf8AkNF/4RiOSv6ENf8A/m9K5odKQqG6lPuf7f8ATU8Jmb83/D/pouRlS+5bAugoJr9DrJurqg7nUeDQHJ8kcKLPANaR6hVRkztNlLV+p/Sv+uu1Wvmka/YAeT9PGg//AHRAcR3MSRQC1ZNFQcyBz/T76HHV2MsiRgPHVEhEUEEmlXnnLIfN4rnybm5t8HRHS/cNttOr+7eavG7P0HP20t/EaV/TicLGSQ7ISS1A0ADybH19h4vRkvWpMBjzcYAPBCkAksFwojIY+/t7aE3PxNIIo4y6lpFAD+qis1i+OKDVXND5hXPhHKy+xIUdW6bIioDChdaIYXkRdnJb5u+fP9tAnee8qqMSOwg/JzlRsEefYef00/XdbgyZCTGRSkOJlyUue7vNAKxQBuKsMCK4Jd7D4fIUJKIzEQ5apHMgcmzUhrsoV/XSbmHakUs9eLRx4JGtKcxTcEWbsLXP09qPOlHWt9k1dpPd8pU+T/qk/wB6Or31b4eSIB4ZsXxJQZVkByeSe+rFj76qm7k3BYmTI/UqiK3HsH9OxRH/AB0N1A22HfD3T/w4lkQglXsGPnFiyj/678SDjKh71oqbftXGQDoS1xuoIIVgLvEG5Tx5NN/KdJl69HGKeOZyBeRxkOYYPTWAw7lWjZrjwBrn+Niz7KGMKqowZDiZD+UnGqjThRY4s9wGlu8jJVgAnGUrGvLwpffQFtM3I7R/lj9xf0I+9fOaSiOFjTkt+eVSeBxeCNR/760z2wsEfiSsSM7FIqJfGIv1GofY+44gi2hTtlWVWMgNNkpIVHAsMBwfUP619tOZk3VpVaR7I7YXA5aspSIBwv8A/b5131GdRLFZ7Yg0h7iP8pTILrzyv6aWbeQh8KIzkiA7jfaS1Ae9uEFasG0+At+8kn4TIGTENJIighpELcAlvkBHIHn9sZindxD09vBdZGND3H3oHn5j58+db3u7B27MpJ9aRmWjZPqOSoF/YgAf0Grts/8A0vdWWSWdc1s3ZCiwRWOIJAvyHF17al3PwPAkSh9zMqqAp/hYyrEWBWRzmr64sOLvTInZTQrRh1c90ccafOG+WMMxPupzZuDXgag6Oe2O3J4kkILggZsIl49uImP+8dXuH4K6TtCCYTZB5llkYEe9jLH+2nW2i2rRlYEiAWl/CRBiV5xscgi/H31qNZ5t1HdyxJmgdfqy5ChX8w8A1rafFe6of/HPIv8AypOR9dWmLqe4V8GCOxDUzHt7Sq8sq9oJewCLpGJ8Xo+DrsxsGACjVidMTwDYyo1zXIHIOqZ7Mk6fYrQQV7frraD6G9No9ov0r+mpl23+rx9a107jzRONqT7H99SfwJ+n76Zkr9f212P00NwBbHsP/K1Muy/8rRwiv8xGpPTUef7/APc6G4NC70K12Nmx8D99MA4Hj+2tGcD/AL624NAqdNPvWpl2QHvrZ3A+v7DWhuSTwvH1P/TQsOCRNsPf/wA+mpPSXXHqhjV1XJUcfUDzzXB/bUsZA0ljGomU8BTwffRMUxU8Af11rbRlrth54oHx/wBdMdp0cH8xqz7f1vStlYxb4AN51JwjNkRSk8ceBf2+n11Xd98VIAxRizGscqAJ4sgfMfNfqPvzY/i7py/w2I/nQtzziDzx7nmxfuBqjHpLKmDyI8lIzY2AqsoJcXf5QBX0x45NRlPODu0tGNXIi3HUZJGBDHLAjj2UAkg15N354HnU0m4yA9OIytHTSIfAUBD2kn2Yn7gHz41xt9iwZC1sFyzVrLKoJS29zYxb2r9edA9b6qPT9NFDEf5jAWKPgAkVwoy/ViB7abS097t8Lkrq6iglGKy+Bu9vI8e277QqWN4pxkTTElT2lQB51Jt+ott1WqHpgBmkNhghAON3QyrgAVR+1J+lbv0FpoFFtTKXtWS6Vr/LICx55uvqNM32LAZmUIj0CrPdLYtMFFg4k3S/YnSyneFwNGGblyWBJi7gzuIs1KNx4s8eeDYy82RXkaA+It3DEsTRiKR45UlpiK5UhEq8rqieOOONB7qHBg24f1UclVMYGRZQxTOMXQAUm65HkeRrvq/RYVRV26uVWNuOW7gitWQ/lZxkPfyfB0kngLirqw7oHWQcJvSFygk93B9P1LaNWNfmxs1yovTodXikhkdnEhvBVCmwWtVIWuQzWQxFfpzrzxNvPFucZSqQnPC5F9MlUVXAdgvulkcAYjzwdPU6Tutqcty6SpKAkeMb130wX8MYggISC3F0L0sXboVpVZdd103bNkWxOBGTOeA2NA2eMq8j78+dRbTpykI6qrKQC3cCwLXlRHvyPFDg6856A8IkMMhLKwUj1PZiMglnzVceaP8ATV66Jto0nQKwB5NBvYX9+RZ8aarQltCL4j6QnLRgurMRiEKspBORNDkXzf0x/XVe3XTJArExlsPygH1PNAVVjm7B+l/S/VfiPZJLEuURmCMJAqsAS6kY8/Xmx7duhN/08SUscBUqxt+0Hniw93Xk/wBRxpZKsjrJ5DuZWdGADq5awe0eLHJvz8v99GtuDKg9WMFlrJ+TkzEAeAcB54HkD60NXLr3wdizEeo/vmqgUPuAbc/UgA6UD4aVwKkWzVUwNEGzYqwKBN1rOUkakKR1ASbpIpNtIgy9NXKtIlMTVA2RZoHjj9ORdfQ28s0SbZdxAWdTnC0ixUp9RkZcgqsfB7SeaOq1telHNXTck+m/ivcc8XxX3+/jTX4Y3A2USoxWZxLI7yF1B7gAFv6AVx/q6MWJK2WqbpMwkdk9Nkw7FYMXLBfDNkKBP2Ogx1TcRtT7L8ygGOQH5uLplFAHzzrW6+PUWPIgJxdZqeAa/Kftx4/XVa6r8ZTfwzzq0Yj8gE2zEyIlYKbQGye7kBW8jnVExKLfu+vRqAJc4siVyZLCnBnuwSAAqk8/TS/dpuVkpFSRSwonKPisibOV8fQeSB9aR/BPxIN5OqyQsPVuiguH8MFqYs1hyCfAqgBr1E6zb7BVd0UaPcTlmB28hxCm0dGQk5DEFipJGPPHuNO4vhrNQzyzIxAJVWUBftQHtpyYV44HB+mqr1j4tmg3EkbCJFBHpl+WdCikvw4oZ5rRH5b99NbaE25YjMwP5v2Ouowfqf3/AO+u02g+p1J6Z9gdXPKo3HCPcgakX0x5cGz9H4/YajG1vz/x1PHtvYDn99axkSwrB25P5v2YHjz7ke49tbk9JOfTXEmhkXs/fyNRQuAa9Mv/AL1f8tE76JJACY1Rqq1bnjxfHOptlVlYOoeowgikBI/1aH6nuPGgNwXkPexq+F9h+wA1NBGFUDk0PNCz9zXF66L631M8qmDLAB7f21jCh513/Fgsy5C1xse4y+X99Y0YJB54v9KPm/2/to2I0RKx/XUsTtfGpodoxIuh3G+DyOaH6+D/AEOiIZFjVhYaRb4vnwXAr2OP20rkkVhoykF7PasR3MaYciz4+p+2hd78WGIyn02kCggYcm0ieZrHAFhQAbqyB71qp/EPxDLnIUfAY4cA5BopmHHI7csrNj8gvuF8R9ZznWdQzYRkypQVSPx0XFiQrGnRTZ4pOdRc7PRhoqKHsfV1LSrMyhHACE85PWJGC8gZKDRqy3Gqxv8AbAOsmK04xLBu4lA0TBlN5JSrV2T47SNID1OJZVaN5W26SgiF4lcoFPcUnkk9UOcWa+AMjxWh9x1hpS04UpGTimTH1aByJIHaoLm/N8WBxpNrb5LRlFYLT8M7YEzSRljLOJFdWshsgXUeT3DwScapq86i6dINwJVJCYSxoKFM7G+wBe7tUk3XGZrxpZ6LwDEgUwHg8AMHBkkH53ZgW8BRwKqxqTpu33ErSKWyzEZDiyplVGcs4uwAGBBHHK8k86Ltu2Uwlxz+CN+mZVzShsVy7i3qfnI8AcAggm/W+miR0thHEyP6kfqiORcLbKQBVPiqBDZck2fA131/4Y3EEIznhYjwkUb5KwQ4qH4NdoX6DLwebTwTNGDHGzAsGaQnub2fxxXK2PJ81lofVFJxiq2yvzhjBOsSRoY3i5YoQceAoNI2dcEEk+3zkX5OmfR+vOIyodGzGbBRYyZWUlSo8UIi3dxbV5pVPT0YKTkVRWNCzi8ZAkb/AFfOKlQODlRuiO9rLE7qjYkAWvLKvFLQxOI7R4rjitK5pEmk78B8vTzv4kaay0Em4Y80DE0ocAYijz2L55H30/2iRwNBtm9IIUPOUvrGY40Q9GPEkntAr9KrSDp3UYlcAxRrCqkExRWrElZArY/5ZBAIY2DyTV6n6pIWYNI8SsncFBQhhHk1lzRRfAzF0L+h0YZW6/sTks0l9y2QfD01IwjVQoqWNmuQMaYEMrY0FNEff7DVe3fTt4cQFMbqMWPaQWCg5AZd0ZPA8HtP1BOT/GssPqHbSoxd8mz7rxiwBX/WIiXiwOH9/MvwR8fHc22+VQzv6alExVQFRwWtr7vU8/Sv11RxQm9qrOOn9N3+3libONkYrmMzlRVQz8ikxYZBRd0eedHx7o7zcSLUsEoRlSVouMVYgMrFaosVOJHP3AOrtuNtHRBFcUD/AGFfeyK1VOh9K/gIu9jIzNEAjOcY1oGUqCaCqWIsV4Ue3Kbc4KKSabfImmnaHcXOyzN6YQrCmKqWOLE/ijvOZqvlBHmtNukRxfg4rIkjumJkIza1f1CwBrwhb/f+ngWfouzO9km/jJYzEQf83sVitt3EH8pUVY8nydQ9c+KfRlRoQrKA5DjEh2urZlGYYAlOasH6WdIlV7mByvgYfE/pbeAGeQRZmlwUEMWNkBOCW9z+hOvK54c5bjlJFcXaknx4uh7f99WCTrn8SdrBk0ywmNRGzqDI6Kq5B2qiSDyTzlqvQdOka5YxG699wMSSUzeuCKxCEe55vjQw+APJYI+noI1tiWAo0gAseADZ/c6FPREYkEsC30Pn9vHJ86D3/VnYG6X/AGCCAAOPH09h9tQ9I6s0YExlBGJAUk52bNkVXHH99LkGCwxbGbaRyRQP6Ydy7c4vdKpAf8opKsUeTR0w+Bet7oNHJJuHeF1ZysickAcAOSAGY40Ca83WlMXxGJIWBW2YKquG8FjjyPJq7ONa5XfPCtxvWC9qnjwOAftwBzxprBSZ630br/8AEyNgn4a5DO1YFlYqQCprmuP0OmkuyRzbIrH6lQT/AH14x0z4xZFSJZ3GCgVdWAPm+/1/rpjuf/ULfIcYsZFr5nxu/fyQf7adaqF2lkRTrpiF8n+mhdl8RPLGrxKqK6gjsphfsfuPGsWE+WOuqzymicbxfZcv1/7aPfqbkARqsX1Nc/0FV+96XgAeK1HHugzOlm0xvg13CwR9R5H9DofUaLaNb53RbQeo+a3ZrtLDM8e+N0PrWpX3IAJ8Ackn2A8knWpGABJPABJ/QcnWlcMvFMGH1sEH/iNYxqfdYLk142Lr2sgWfsLsn6aW9d3xwVUPD3bh1AVQVWTk+4RmPj8uiN1ljHgbT1Aj13ELRQ1Rvtar9xX20N0rpJdcZSykGUEAgq4kAbMEDsIcmrAPHjkaVyLQh3DpOkmRTzTHEZAUaDA0f6X++nKdMUowdqUjGxZ5bt8VzydAdT352sMbUCPWhjZmulRnCsx+vHv7XftqrDrU8kMzQRBwjrgLLd08gmBBschlUCyB3i6qyjkdGnoXyHzT7hY5TGVcxbqoiXoFXhCcjkkLLIbBB8E/TUHTmlUuoYTToWd3LIcCoVAoQlSB6c5b/dFnmtRdOjlj2k8U/YryRIkfBYAiM5JjRYeLAPs3gjQHT94E3jCZgkKqCeQSzSbeNCcBeBpx5+vAvwp11SYftFkaRYSYyFk3GS2rXHKySqxIFEF45VoeAV+41Nuumw7dM2IgEkckHaQDi5APaSo7WGV88XojbfG8EUasE/GCJE9lRkkbNh3FgoJyJAJABaiR5K7fdH/i/UZD6hYGVVZpBaSDJSikFEJwuuO6x7HQajy1kyTbKn1CKSCVl/h2oeFLoRQGRc+ymvr48+DoAdXcl5fSjdTlIVMoDKgUMBRWyMSAKuyrV4Oj9wsksrq1qVFsK/OmBwVUB7balJBAo34vXG8gWR2yXOmxkBAuwo5LDi2YO3B+nFadSN0reCfpOxkzUzGJU4kdvUJHpu1NZw7GUd3PsQfY6ZpvdsriTbGRGVwsIc2tFsG7o7BHpgAZcg2OPGk525uEkWFvsAt+blbGNVrEl2pauybJFASbaaL8FZS4RRHGpyHaMlXL5eALYVzdqdK7aG09unJOQDud80m9BcBzmFoEFGsgAWSBiTQs1X9NN/SC+ukZV2OdJahiloF+WiT3MR7UAOa0qnhj20skkczPJtnZ0VomCu0UmPnwyhuDj99Ptr/6rPNtJVmgHqlGUYFgCxzU8UcSKFcm78jSw05JHV631UNWacPAJ/iMUm4U4EFlUZDIIWMjqvN2qqfAHFA83pLueqNj2k0z/h2gyGLANkxBL2jEAgg2DfNab7DYRNGHMuSh6sIwuvSLAdh7yXontN1wfebZ9MO6MKw4k5YRiRbCssPrHkLweLGRN3fHJ0O+TiK/N1YF5vxWxKgqrKaaTnziK7QBVg3fnjR3SN8Wj9SzmTjS2EFHuQgKeDHjYBPzACrJFzb4J2W0hD7vbszmJmOEsgJdcbQKZAuRJ9uONdSfBKTuDt849qSEApi6MpcyMQ1mmyAsHjEfpp6VUjRk07fAjWOFAuSMQRiWsFWXJCuSNQADSsxa+Bfmq0z6K6lZY5EU2E/GxXIMFMjkgg+a9MccYgcedLd506dGo16eMiqO0jtYQIWNUmagNdcWASC2m3UumJHtTLHTeiuGamRVLg3eD2ZKNuWBtjzQA0sU+Cs3GsZHvwt1YOJBJK1wenSuxA4SOQ815BKobHmMn3J0l631R0SMNIw3A255BZ6xaR3a8QMHCgZGuCboA6D2MsX4PcI1jnWR3JUjEUkUbOxBWMBODYs2fc6L6z0KVix4CCFRnlG2WaIHk/8A5CAhYfdv66z4onyyq7naGS4lQBpvT5DCyy2oUm/Jri+fb31AkjplEtPk/hCwINefHsLF8Hz9tWmHaFuobSJz6bTGRo1QFXjj9OULYPK2ic/cEe2g22rKQ6PEyhmZh5dI8QaFLQLWzMTbfKCOdIos21CjZdPUZSq3KNZWqxAkeiT+a8bGPi+dHRbVGWMqXJl8L8pXH8M5kfdCPHkH66j6RvjHCzo8YWRochJ8+JYOVC0aQmyTx+hvTPf9WikneTcOkMjoCgZ6C2BVUBlS+3Fk6bamgJ1yJtz0VQ+WLBak5BDHJVJAoXQ+Uk14NDm6StgxBCYHFQ1tkPUru4Hy2bNNzyPGnu3M00jpEnrDkMQoZSCMvJ4YnzV2a8EaGUyRMXl283IKC4S0Q59saxNjmvp+wg8ZRpU+CpQ9SIla3IX2H3J+/ihr0Dp8oGwkidFZpSjBjIRQA4BFUTTH3I7h9NVH/wBoktykZB9/UcH9KP8A1026rIR3t2UVFA5DiiTZN3QBrxwBrTkuYiJMhfYytkyJGyJ5F2QKFCuP/PbXWy2HU5wz7fZsY8iAQkZFjg0ZBZH6Ei7970J0lX9WUqWIe6LEg0fHvxxr2D4f6nHBtoo1kelUfQ19R41ya+u9FWo2V0nK/a6NQQBRSih9tc73demmdFgGXKvIUkKW/wB28j9gda6XI/op6wqXEZ1RGQ8kH6e/jRLNftr1rPF7mWNRk91+5Fft/wDupEgvzoiPaj2s/wDD9tKFIWbsuXjTEtHKWSQgWEtGZSa/KcSv6sv1002HRvTRVzJCqFFkk0BQsnm69yb0SNuv0Gku628pn3aAyAPt0eJsSYwxLK6eMbOK8E8Bj4uyC8YqsnUfQD6LWfxfUjLMPMgidVV7AAzaJQW482PAFWKRo0jaQmlUFjwfAFnirJr2A1WJN8Y22UskqLhC38SGfHj0siQnuSyXj7BSR41V+ufHDPI0sJlSCTbKzWFrFlHgWGDh3C2GI5aufCnVGLYy+Netod2kaXxE6A5j0z6iKUYAeTmyfMPC2OL0n+DviFFkWJw0pzPqYl1yxvFaJCZAgAZEGkJu24T9Xm9ZtqfT9IvtWQAsFcTJlHFkZAClMqFSWr2Hitbn6NI8O5waNDDIHY5sZCuHpSsGUlsFZSW8iyTdVal6pUGbrrrb2KYsoilR45qYFhUivEqKx/IAUJJyBZbx5ICHedRkWZg7ktjeQILepTFOCKK5gMaAsi7vnUhT0jMzELUDiP1Q47ezFY6Fepmh+QkVldUdddZRo5FvuCfNkSRLEFr1fxK8hfHHlqsFSRT3WuBk0o/Mzbz1HIwjtlVc1VWR1LteAAr8MuxITg8VZ1YOn/EboSVeRSpCo4BNxmTJqWrdQ1D/AHQKpq1UJdw4zU4liM3BQePw3plbsKqysQKK8tiFB5Z9PkJDSPkWwc3HRN4t6eZemkfIljbse7trwC8BXuwWDrPSz/Hum22ob1GJZ1rLFir5AepWGZyPtf01L8L/AA+snqmWRgYPRzCkBs8EtjSmzbNyTZKkke+q6vW5YgQrGP0oiqqDUoDDJFIFAMvoqSVskHg2ObbD1fdepP8Aw6tNCLLUCxkIABKNd3jkL92APubMavIs/asB3XtjAJlhykWX0gy4oXdTK6xZX8qq2A8/Q+5APkvU5n9QKiyFVN0DTWhAJy57sqN+3HA516b8X9PlZ4p1FsFGaLVn0Czx2GUH5mDFfluMc3zqqfF3w9LuI7hVXG3GUvdyWkPzKoNdqim4BpAea4MX2FnwmKJeiuV9T8QXC7HvuR2CNK134BKmx54PGhtk3B9RJBkKIWrC2AGGRrI4P5+/sdQs+7iQxpNlEwaMsh/DoqS4tlDBcWJJqq9+Nc9I+JHhVYmClAaBxBZRbMKNiwGkc8/zn24074JxlUrGPTN086MqcHKBVDX6ad5BZ2IpVOCWzWTVEnwbF8N/EkcE0Qdcyh9QyKWpWZBC0oWPiUsGK4jwEFZG9Vb4f6gzMIZZWSIuC6gnE4AlSQBbKDdj73550w6P1l52ZSMUaNsmIY0a7Bjl3U35j8wNHk8o1WSikpYZ7Xvkg3xUeorNt5gOLwMnBMZPIY9oteSOLA0D0zrboJLhDom5SIPTMXZ2HeAOKOZxcCj22RyR5p03dBZ7iZizOxshAnrrI8tCzQDAIC8bCgvuLOitv8Qgu5bAhJ/VUSAAGcJ8pPCRuokrkVYNCxwg+3sy8ybs/wAdCcysSybhGOR5czLuMaAo8Ko8jHE/prnqI28kqQo7VMrSsJCTSxth2gg9xYEUK4LEcAjVTj3AZMXixkO3LmRhciupjODWAz4DgVxcrXRFnmHf97bpQ0W4jkqKgCJAMm9Jq4h7COOB+JRBsHTKnyJtayh3/wCnkG2bayvuWS5JJSVJqMRx/hkUTTiwxyq6Kg+Bq/8ATo4/4YCB8kC9pBLUCMgODY4I4sHnXms3WjJstjCXSJZUHqNlGHMzcucSKHcxoe5YkihqxfC8kxhlWKmhfPBmKmgYkSIqq45IMKIyWyW54Fo6WQ7Wyv8Aw503cPM27khIsSCIvMQ+BXLMee3uKnwafi71Inw4rg1IYpppWjWMsuILLnI6j8i/mx4N+RZ1YW+G551haaOFJAHWQWGRFLGii4m3KKoyJtQ8lHnS3qHRpEG32rwxS7eFo7L2fWW7d3HPNjIgAksa8aW48Io3KTtiLc/BaySkLNDHIqk/w54d8LS1Jk7eFs9oAsDjSjqm1WSWRD8ykdp+pNcMPp4u64OrbL13c7qKPe9Pizji3EpxoKX/AA2jFlmAESg0eLtAa1fJkh3O19aVBXpljwMlxBsBhdEG/BrTtWQPGJNq0FvG4j9PuFOMhgMSavuNg+x4OrB0vf7ncuI19KVQKYOny2Ls0PPvq19K+HpYURpVWRCciMjSZ9xLLib5PLDwNFQ/DEaGOYIcgxPabA5Iv61Q8eNLWDWU5Pg3cAlWRHW/mBpq/Q/8NI5unIGCgkOxVxmeCoAKsB7CqHj7eeNeo9S2ySxyCJ2DtS9rV5IBPJo0CTQ+/vrzv462bOzvH2x2YgxvjABvp4yFUDyV+ulkqyg3YQ3w6VQOSoJFgCgCPY3oKuBbYmjwWA8Ej6/bQnRdg27VL9VSkeC3mvcS1sGUUQt/Kf5vfU8G43aAqXmSiaUJlQ9ucPNckfUnWjHuxWy7xrfvotEGounSRyIrobUj+o+xBFqw9wRY0eq66jzVExFH01J48D9tYkZPgaG6l1yLbNGJQfxA2JAGNgEhTzdsQFAANlgPOg2WhCwnpm4WeMSRsCrfuCPII9iPcaS/FnxG+xlyOPpeiS1qeHshDfgFmsAEc4HXnI61uWimEUvpIkonC5qApkJVKYfmWSMkjJQbJxrgMOufHj7mLcwsuJkYekUCkqpssr3w3KHkEkgiglHSnStOngtE/WP4np0e4OIV45Y5RJ2lpPSeMqAKY5M1nBhwOPrqizdMUtIFiEeGA5kyRVLUTZI9SlQ8fa/5dG9N6IN9t9r6EhCQrHFuVBTlpHhSQhhIXBJjDC1AJFjydKd06ruwuBxIdVBIEhAciNyrAYhuSMi3aSe0aDLQRN6yLDYhI9QzANgDX4kRjay1FrhIvK1s91+ROnTOF3Kq8io0SgyKeQGdXUSW2TENaUvnNya51Pu0YbHb4yBkZ3skxri4YkgizZBfiifJ4B4A/Stm8hkVZACkLOyNGzKcGph6a+eVUlqsWPvrZHwa3ziRIrxB7VHy+ljGQoUHEEAZMSfb1D55Jmh6wyblBgSPrO7KqH0wgQuoPaCCABfmuSSddb/ZlEeLBFKOrj0x/wDWUX1BRkoMAhBFZEp48krpRuSZJJldY7OQU1wiswvPIg4qAAR+UD20Ld2Ua0nBJWpd+KGcMBuOb0w0MilSWVm+VSuWR7+aRgQRfF8HRHSd2rko4haQoo9TJUIPqWxvlWtBeSjgWeRyLFtN/tNntA0SYyTQxsAJlZw8q0rhOUDUoIGJXtFAmxrXWPjliZikZWMxhS2N26uyOoeNWxVlFgMwu1o8nWrIq1JOKTK4+3e3AjIU5r+ICqlkGPyADGigWyD4I8HXEXUkjhkWeCyNr2DAtiGkxtQw7ARl8vA4Nn2Ih2bJJt4payWX/MDLIBFIFoBWUqQFZsiR7P4+YiT7g+pMIZGZs5IhaKHkxYAH1CpByLIbsGgSTXI1UC2y7xdflXa9NRVBEtK2WOLKyFUUkng2yrR5sE1xRqm46cYS6cySyAxkyEMsbqWjdlQjFgzE2GuwSOL0p6VuiYDODNEqPCqkG+/H8QBjygMbDEe4I57dEx/FEczi/VzVTleI7r7iWY8sSf11rafA+np6coyt57X9RH1xGiB26kGOw+Vd5JjVD3Xyhx8H/mdL5OhN6ayIcuxnIPBAUgUP5idWLqO6gaQfhu7VQCyKW4HjEG7r20u6h1BcYgiSQ40y+orU4ZxRBAsVywI84kea0252sA6WlGErkm6xV+V8kuLAtpHJECSKc5RkG/VAIXjHyAbC/XytVemLdAwPe5VaKnBTJnJTMyKIzynbRs/cjyAX0dY0/ElUM0cX8QCpag9s8YYmmoKihV7gTKCb1F0vp4EDZFzKpe4ngLRECPOjIBauwDdysCo/2jqsIbld0c+EGxQrMaLvG0W3iLESIrM8liRaoYIGIWj47vOeuoNs38SYM09ISJeKogWjkKo1ZwNsxqr5Hvrp27XcFHKj1I7YMWelDEooruMpsHlQrEvyTiDqPcbKNymRRoI4EEg4zVmV5FDMnEpLqWsZCl8CzqL9rpleVyMZdxGjHECVg57ZEqFcFDsOSAjdqmyT4JBGdaD2O8YRRembCxZhhEvJ5dlAFFwrOIihIBxY15szb9Qgk3ZfKPCI+XQoZC4K0UN2gVSCCK5UWND9I6QZ0Kx3NI7I0K2vyCXkEo1KQgZitH5iaOlk03gdXQz6ZvWEjMXVUVAqHEFnjlaNsB8wUM4KWWIpwFC0tMPhn4wO23EUcuCxSs4BXhc2Kngex9RmLCq7gQfYC73fGANGkapHSeoHGYtXZ40IZqEkbVz3Z2ee3gT4T3PpujzK7LKBEHW0LNMqMFLMe6OwCGFLbiguR0jTayG0uD29Tf8AYgiufeiD7f359tB9agDRE/mUWv8AtAeP0OlvRPiSKRJDkqrG+J7gQpoHEtVZDIce11qbdbwSA04FqwFYkgkcEWcSb55se2p221HgXbWRbsN3hE0ccaLlkz+QCSS7kAA93k+9k6S/CG+jR5toJA8BkZX/ABgXLnAuFFBsBVcAeTdtZ1ZUgUng0R4Ni7B4PbwOKPtzfA086ZMDwwXP60Lb78Dzqrl7tpNxxaCqBOPfX2JH9wb0snWHblmkZQCPB5ckHkgDmrr7abhDndflofuSf34/bUG92UUwHqKHC8j6j9ua48e9aoiB53u4USb+I2O6RQKMkchJbAfNQbuurq/H1rjSqPqLSQ7aJlWMHcqWOTAvTF2yIII+bz9SPNVq3dS9TcsySQhFmlSONDRkMYKtMxYNS2ikYjwRySTQq3UPh/19zOEIRIbxGTcsfmGd3+554GjJJDcD2FUBZlZ+LBjDHG+OQPJ/XzqbbzKgqpASbORBN0BfcCa4+uqj09WglH8RFGVJ4RlJk+xF8f1P769A2nW45EDKhrx3LRH2o+36caigsrnwbs5NrB6e5xzytcPBUi6P+sCSL9wE+lCyv1CJGRXaNDJeORonEW1Enkgc1rieIBHJOChGJayMRjy3H0HPGvIOtDdTGGCamm9NaEgPcU9R7YjtAeInigzBUu2GWrWQjHdlnpnwj1d2aTbbl19eOR1UWgkZAA3KrwWCspLAKCGHHk6i+Ofh4b7bB4GDSxMyoyEGiWCv491dBx5FEfpR4opW3G1DuwmQKFkIdZGjCEohSvqmHqVmQwJvGw56Z1CeCPqZBeM5LJDI6ktIxObFldflAGLGr/ENHhdLyX2UxV8H9CbdQOE7GBMcgMalSRTK6vVKeczYU2f3g690k7GSNfSrOgpD5CTCu/EilOUl3xWRBFeWew6h/wDMEm1SWCHdgdkbQ90lDuGRaNCS4v3o+xGrf8Z7JDshJPHCDEysBNJcYs4kMa7zR4XmyBoNsssStnnPRJ22zJJIrdkzJIWLUVEazKuApSp4+Y33EixxpR1rrLjf/wARtPSsMPTK92NY2imgrLk5UVVhq8jje9ZhFCaCh1fAIgvjH1Bxxw6VweKAF0dQwSAieSO2WMxu4NgW6uj1VEKSQf8Ac5JuzXSklLLF1I2rRZf/AH9DMjmXaNK6jwcSqSc0SxFiiL8A8aQbbbGOgsoWV4+1ispkkWYiPFirCjZ8gHnKzxRabtpd105ZmjJxxUSKVdTjaySvGyAqw9Pgo3/2fbVegQYP6gyURlaq6YKQOQT3gOwUnhCycEeNPzd/ahk49o15yG9Mkl3249MLk5QKcvTUIEVwfPlu5TyC5IaiPIY/D00kdpJ2w7gyRzJKwC3iaYsB2kspQPXcGA5oaS7TeTYtEQY45Emb0+LsrmXf8xNIFDMPrQBGmMe2PpxMxyDZDLtyzZ3aig5x7gB+w540q1OllK7waEY60+m3WLRv4hatwY4wewCNFjjcsqwMwVASC1jIAvVMReXnQTThMY42uNlaYhAAkcmDSAhSuXEUSNiWpiL50b0/qypT2qtKcBI4yIAIckH5s8VoEc2eOaGgmWVxB6MiqXTEqeIwYyUNccqAxYkmwD9uZrU6mao6NX0/Rltu+CXpPWZpAWUGhIGEhZiVkxVFHqVR5NhOOGa7A0d02MSTxxjsjENn8qo07j12Wl+XE2Aa+QAeToKXaEqVVZvSaRmmLtGLKA2+EfFE8fmHA96Ot7Do77gSCeT0pVaKJlkZKlICVbGQPl4PGVVQ9gHOd+CTYbgAwhS3pybhm+aQ20bB4xjHLiHRQBnQ+axeJpluOrvvPTjhUeskoRHdIhA4ckAP+Fziii+R70DYGlGxiYNGHchY2ZfwzgSHvLvC/Me6uD4486m2O0yaSOGMlwySxrZ4UBLYUQGYAtQN3R+oBXcrBXYN33Xpdn1Hcpt5FitlNRpG6onzCiynBAW8AAgVxwNJOt9Xn3UUrbm5ZY8ULYItXkS+IUE0FGNVxISfbVp2QU7ZZJXXlHd+xBJ+EBEM2r5RjZ9yQBdAgon2iTAO1hxMY5Fyq4wFkaiF7QxLCyGINe1AM5WwUksgvUemyRbYxtzLKNrDTkKY8F9Vh/LiAIxZJqybHI0rXdusKGGNkANsA34bkRC3NENZBLWKxyI1aN1vEidJYzGDA00wEsh4Mjmo0BFMDQJ9z9rJMXoXDHuJAAWdSFE/nJbUhEy7ivBDRilAFAAHRWpSrkZaSk8OgNyPXphLTkYshfwGQBqFgByvcaJBfkDxqTZNkc41xKRusORRYS4CsxK13O6S9vPdlyQAaI3WzcyMqp6iSqfUIIWJm9SSaNcwSA1xs5rzQXjUXUFhl2+3jhiWP1WlEchY5mSywJJAbFnYIvH1JHA0n0Gkq5AN7B+AoTFTIkSMfUpywzUtwQMTfOYPBADDnTCXdbhDEBGyXAYoVW8ikg9QOsii7dVL2eFsk1ydQdX63EHbJpFxUIuC42uJBTFlFgNZz8kSt9gOoIWO0k3FlfxlXbvkFQ2zK7EHiNAPF0MjQ8UTVIXdk3t+oBIWamUtt0Xljkxp4jNyCoLFyo59ru+NCSy5Sxicfw4lQJKQrHONVC5FeGQAooryLJsg8u5tiU2areZdIzEqD55ecXZwcmGZL+StmgdLv8UkdJ4z2MZIliydmQuJD6jmRgclGPuaA4o+SYuOb5DJSxXBGxdFn9aRwkR9IxjFsmyDRgUbZVWJO4qvIIu7Gpd/t44IY5Wj9SOTxIAo57rXAtlxg1miPvzrhoPUaQr5WLl4kEls5CAoQQzW5JL1kC58itQy9HMbQwg+pkiyO8RMhHBYKAEtfF1RJsXYFaCnQHDwBbXfpGcpVyUk0F80eQPmHjgWPOnXwt8RGLfJOqtguRCP9CMCPqCVLc88/bQP+FiRWlET4RyBBWbFLBP3YgUASf5hyNDDaqsyotBucqa8SF4BvwwyYEexBGi2qErsfTfS+px7mJZYmtT+4Pup+hGtwbZyX9QKcnJqie0cKLNflHivJOvAOm7t0fFZCtWD3NjbDHKgw5A5B/1R9NWzp3V23G7jdJHwSWFMbfxHgGsH5rALE1zzpHKuxuna5PTetQRLE0rop9FCUscKcaFfT2Gqr/hDxbGN82QumbkBSyO/cO1gQVNhGxrwD9dC9Z6285lh9LON5UW4wWkQEnJHA5BwFiv5T9Rdln6ltZUKt6qjxRTcJ54o9oNf20yyJOLhhlO3W68pKoDWCGUDG65u2Wr48H3++tRb7dRdqKuPse7kfXtPP66F+INzHFKsSMZUdQFc9pX7MaAJHjI/8tKTunHasppePav6GjY0lO6oB62rfcD299Vv4w6RCu3l3IVRJFHkhZmC5qxZBQ5ouxFDzlXvqly/EsW96Z6M83pbiJ0aJ/z5R9wZO4U2Ni7FEjVm+GviGDf7dtqWlDlCozI9RggAZ1mW1fyPPdyby86q1QsY9ysdQ6usmyj3DyF5nkaKY3RijUhqUoiubV14BJqV696sfxHvS/Snkf09wTGhT+HZlYIzYCUA3mVZgcSKJBBPnVN658NS7OHbKMXfbOZixjYM4Vg2fki1sRkeWAjv5BpEerzxqgil5x4jXFs3ZgPS9JfJBkN3fdmfmAGlLUmsYCtruXh2wdTLFJHuWbMoCpBUFWxdLEhMagNdc0QfOt734rn3SIHkeQlmjVOxh+IAotQoDseApNVya50u2CMVnjd7jaONnf1e0MrkgOWZQ95UQtmyAKJNcSdQIjk8oQzeVAUOSoBx8tIoGRZicS9+eW3yH4yND1hfTjSRRGVUoFAdmWaR5iWsyHO1KFgSaZiKXSnZloVnjdqXCwCynmw5agTZxSiRda52chZHU9tIG8HJgXTEkgc4kLRAF2ODqCWMRt+I62B8rEEsbalJDWoIC9x/n+lnW5wZvaO9vstxtw7ruhijBVgWSRlZ5EyCYJxkAWYkCrQ8g6wo7ONuu1EjHcSn1ZAyI8zWKrOqqqtsr8UTRAbpJ9XEhvQLkhowzAxqrFscmGQal5L2tHxfMkm43MqxL6zn1y0qxBSB6iWbDUAFGPzZEjEE8c6eDi1kzUrwPdj8HbhZA8sbYwIy9jI2ScoLUG/lJY/ZEAo+COpbRBIMExjIYYh8TCgkYWqlgRK5VlBsUFckkXpDD8V70EbV3c5Ni0ciq11+VieWQ+9tiQbNjQe4Mn4biIDGNV8XgFpmHaAaxYWPNNR50jafH5K1tfKb+RPLB686TFmb8UOAFohVVZJZZFWwi8pZVgRZON8Drd74Q+lFgWEEryAKoJSK8vJskG7YeL4J41NN0aXaSiJzHOkzgFQfxWQnGN8Caj7gD818LdUNCpHgscqxZwh5jlRyCjyshUWB4IDL7L48aFrsIrvOL8h2x2KSQTMv4ipKFU5CsVKyKqu1sGtnFsoVru78a2W5SKYhkctRkjGZUhzTQoyk2QlkEAg8tZPFD7Hp7vFxGkULqGEhoqzB2Z29RawVIlZcG8ZDwXGoOp7ZiJWZRapHJzioxkJKlRnTiqrHPx71esZulQVudqZNqkyEByzh1BW7XHtrhsx3GqquebLMJC8iGMo2MhXgliCB5yBAsEEMOL8gjRGz6o0W1FMGzlXI/KeY42rEMMyptcyGPBqhrIJ5hdyRoCWbmQfhRqSGYBbLp2hQTzkKI5s7bbyQynf4CY0eaKaSFpMckXvpiCR6khwX5QPUuhfggk+REJZYUijxJdS18HhixHN/7N83/TU3TJsCyZMLtgzks2ZVVLMoouQqmhxybF0LkChWZQrOWbtZO3mw2KyZZOVoeAFNe/nSWUqL7le3cLNI6+mWSwrM+V5oVEndfa2d/fu8V5d9W+ImklhEyMACS6JxiFHZgQvaqgquQ/Knn31Bvowq/hoGFBhGcmc5cBji/P8AtUSfrS0IP49TFSRnInJMGXIUlYkA2UkZ7K/rwKvVFkEXtuh3LupPxaiYYhDBeIwT0mRcUUlR2uSfqMC3NAqthvGbbGF8o2EqqXYglWkdmaw7KYipTJiLsE3Xza1tRMUjY3x7R3m7u/pvkvBaUNFdN5yBJ45yLpon3EvrPUKSepJlIBwQUBAUm3yUIWBPze2lwWW5q0dbgJBuzCIWklkDQ1atfqMBG8Ttfzg1X0f5jfDTqnR3hhhhnLxOEaT08R6eFsSoKg5PkVBp/BXtHDaVLvktZIY48omKxBo48WLSO6B4+RGUJZVYkEkjk1Wo99FLDnBm7kJyULvGWlcR1nXiolAb3oAVp6TJNtS7BA6oxDSSiV5YyrTFi+ca5dig1+GSOARiO43yNHdRd/Q3BQZmWnD+mFAZGQlRgSyquYKgHzbEnMDSr+GEMe6UoBI0vpFslXCIx3woLKYwVIPPPbZB8HEesXgeSPawWhxdlJZlxCYkgyFnCgF2NAAWSBjpaVjqToI226RVeVAxm3Kyqn4vfgiovAo1KJQVBagVJ88g66LDMduZAEkLsEcFvliUYJEMTiHBLDv9ifPsH1/p8yiIDamMq0ah2ezkVyUEAlUvhrSxRQGtEbbpMke5l24LkGYHllpiQDZINg5V9Rx+p0G8GwshvQ+jzIZmdWVkkJjGB9OyrKe2OzQlKsKIBw9stcdM7dxLNvIFmMmd+IwJKVlIYkUmClKsnleDzY0u5dtwUujwoOR4I9mNVRo+9EVwfGtP1VzKec1UgICQeSSKx5BvJua8AXqe51wS5yWLbdM20uxsi5ZVOLqlViBHI5KjFQGPCWcsTWV8GfAsmz2m1IaCU7ko8pDRysoUlggEigqiEALkaP1rVe6d0x5dvLEajEKN6ZIyLS5CUluCVBBKkKfN2CfLfY9WWOJF3cjrlC0XYbUGalNohIIA58Gslrw2mTxRXbi+5L8Kdei29fh+u0XqEPGRkECBRmWrEhB3fN49rrXqHw/1htzF6hheKzwH4JFC/PNhuKIFVrwfcbNTPJu0iKwLuDgoZUiaJXkhAjwBYmgbAI+U88jXo/wx8RxQbYgTbg+ngrRywtcRLBMQS2PDHxkWo82dUS7EZ+73Fz6xskkWmiEn6mjV+QfY++vOupdKi9V+2OTuIB9QqQB24kChfF/73nXprspJU/MBZH2Ni/64n9tVXrOy2iy1Lt0LUO4tCMvvTSK3m+SPIOiSR4MFIsqHCigSfIv7gUPBoeRXvWj9t8SttZ1mgxQqGIS+ACAPT7vmDHnj3JPGod9vFlQTGHEs7kCOZFjBUDJjFgWUG7ALi744GlrgSLYP6H/iDXNEfT66PJTc48HoXxP8aQbzp8C8zP6mLZCSL8YAY1TUeGYiy3yi6JB0kbr5VoY3CF9uJQk0ULM0fcFWQ18xuOgQFPPd918kjKtUpR5FkVY7HabRXWOjgO9qUjI2SQaB0qXdvllmbyVkYuMUbIvZJ4u7NHm+a50uClYJd1EzlWCMCUUKSxESswJlJJsUBldMAMWJ8Ea0kKOm2FpiqyWFR2IKuSZXAFtnWI8UAAaAvRjbkOmMsglp7R5GtVC2XkZRbMXNWCCTiSCb1x0d1dhjElorFlAILkuZAkar3M1DAZE/MOKAo8mqgjZbXFHWZvRLYBMyoYD1M1DQ8MgbBBmRiASb7joHdRRRuwKKrOe8yBmCqwHKqnPcCSLo8g8cEHKjs0800fC0DFI3LSp6eTfQjgsw8AuF8eB5ZMpWAVGtpFRqpWSTIZKuOUhUENlfAVQANI0FpMY7uZJPUj24/DZhkjKVhXHErIbjDBiqUQS3nk0L1N1jf7fcPFBstv2Ia/GYgEBLJJLkYFQ1NxzXHjSibbJHeLBgSy5Mvc6+CVyFRoGAa2I7X82DrPiDY/wsyII5FZUOT5G2PNDgUhRGUEDn6862nFRVIE8dwrr25iVI5BGwf8KSVCmA5DRlQW5xKrSsooA+55C3cTKk8aMzosRxZkbvViS0rA15VmK8DkRjXXQukrLuNuMi3Kvl5XGNe5SCMvnVUHtXjWtltLkVcmeR2ckEcGkLEE5d7B1XHjzfngavpTUHdCyTk7C+oSYRZlEdKEaqwbJQbbNCGFHFK98cqGmvTJWi3LelNHHGUkEiRqWWNQiyylchXpEqO6zytV4qmbhmztuPSoU9mypJrkVXFY/oPHh9s2PqBiEaOOJ56j9PhXjzKm/mZTS4t+WPxR52pKLVRVDwbk7ZDt9z6m8R5hn6gNkLw0sgIEjAnvNOG9i1AcHRu9LCKFSyvhGHDkXUbdvgjjlWpRfnkjwBR1JnjaCS3W1YkjFjS/iU0g7GCA+aFr4PFm7LdwyHdOUKQpCWEauTiz5IkIYqcVJIBIq8BYIvUJWGDTdeQKPqZC2yBkZ5FIwjAWV0Xuyq/JF2OQK9zrIpGMdwsjy5qwqKse4Dz6dLbkgWRwb4JIEHSzI0QCqSgaRmvCs/TpgMgb/Dw4otdlRYvR0MLQzOqUU7mB4A5ziT5+00Hb5uOTfm9M8CJJp2FdH6iTvvTkYMxcDPkWWpTdMGHJBWjd1q09X3wVU4BF3Ry+QGkVvm44eyQL48aofQZfU6mjysopnlLeEGAaayAe1Rjdc1QFaum/iLz/iYsywIpYYm2ZmcscRichi3HBux7HXR6fRepJRic+rqrTi2+CHb7yBlknSGEOGjRioWnckl0y9MYlrHnEGuMTwYBJs1cjBQ3qOnpxyqssZFjgqykg0RVE80wHuUnS4sWBQdwAYC6YLVX9QK4+mhZvhbbMb9Ojd8O45+vDedeg/hur5X/fY4f/R0vD/H+zsdB2n8MqlGJeRO5JSQGrEBo/WLIB8tk0KscDkkbJHftMgdO1UJUxAHuyTKMqW7iRWVlvm+o7fDsQVVIYorZhC7Ylv5jRsnk83fJ+uoofheONSA8hDckMVIujz8v3v+n0sFH8O1fC/kePxHSXDZPtemR+hHGZGAdmtW8vJyQGbBfUClTiDXF8EAa5g+H5Iish3jGRZXMZdUOLgqkiP+JbKQQKSvP1JGotp8O4Mv/wAiZwpBxdrU+ODVErQqiaon66edXVZlK2y3K0hKt3d3lDkpBW1Uih7DSP4drJfp/I8fiGk3+r8CSDpmSzhhC80rOLJwj9PnsURsQFsEglhwa4I1INqZduqYhJY3ctiJcZFkUrI5DoMpTi3y3QYmqJ1Ns9jIiLGZRQVvlQYlryDY/lOXJo0fp4qJtruGhNlGdQFU+wClSinFQQoK/Uk39qM36LVX+DKr1ulzvX8E3xLsJWaOWNIpFJje7wLPaqRID5sqI/via5PPLdHlk3SyM5hGLMpAQk0R2rywaw3d54sVzzztJZ1LGSCJyVGJWRkUPVElBwynk+1cfroqVyVSsmtLdCTiHLC+bN0CaNeODdnU36PU/a/4GXrIfuQm2HTrXCSCUD55CA5PzdguzmxHNZcf00Ft9mUBwj3CU7LbxRX3tipNhZKojmyASKJrTv8AiiYijRNyaCmMMoWzxQGPIo/a/tem/wDErOtq+KqjWXullyJVytKVxIGQ9wV96OoPQkrw19UP1VLhoq0U3orGyIjKvm7IfiyzBTyxUXkbr28ak6/Cu9RBA0duEDxrKva1hmKxyOGKLkR7WQfHnQXVYp9ssa+m6SS2zIw5YBn9MWLsnvIBI96sc6nh6pHAU9WF0kx7sVjCk3xTC7NWTfNjyfGoK4rgdMcz9LgjgjSKbBdvI2UcrKpllq8mZW5bEcUTxx4ABWdD3EwA9NnUyTc8qWkjbM0vaxDjFiQeBjfFkaD6tP6qkKjCNznZJwLd3dRNFqUi/PafpovqvWoY+nbX0dsU3CAEv6dRDEY+oFf5ybDWAQG+b7tHPI++uOx6l/6d/Eke6gcgsJRQKyGzgsaohDUAysFL2Pdzq1yS2e0Iw+t+/wBPl18+fCO33Jgk3EcYdlBKRnIiUO/eQoN4Eqcl8NRrkAj2zpe93fpKZYtuXIu45ziQfFBo7HFe5/XTquCMk+fJ4J8MdVj/AIXfwS0C+BiHIJezERV8ghuQTxZPtpeqGONVMbiNcrfHt9RiATmBTfKFq+DxrNZoXkqv02S7a/XDOwAWN1piwAbFlHyc2S1G/IyvXG224JMqGjt2iYljTv5dyrY/MDyDVBTZPFnNZpmHTVqn8wbpcPqTg0UiRnlNUzBF5x7j7CgSxrzZ0yXbxYeunDqLTEItguO9kFYVTIAoJJVjdVres0rYYpIYdWtdvEko9OVoJZIk7SXhljYLeAJSS40emoFW/mGq3toiyukjC1jXDzQSQmRms1iCvbdG/UUe+s1mmqhYtyZNJL62cjSFnLIRyQwsMMAxFhFA5a/GIA1x1Dd+o/agVAvyqpKgjmRgPC2RZxoUAPbWazQCMOk7DJdyWN+qoRfymR2UbmgaNfIL8JRBPtqP4a3cyLM4iWWBBciOFIxelYgHy2K1+g+us1mj3BeLOpdyajaKFfSgObo5IjYq5EbuxI9Ru70qHP4ZBu9DdY3RO4meIs8bKY/UHi2F9zAYk+f1A1rWa1CqVjPrceDJGsoaMsIczF6bmM4jI4t3x9zCiQ3t4OuOudbwdTFDDtWdSjekArhclNlQPwWIquSaJsnWtZovmhmtqtBvSPhn+HA3O5aAxY2AwZ5MziFBVSMTbEFrYDA8XzoXfTn1lMcZWM0I1JByQOyHF3sOeQbPF37DnNZpHyUS9oX8PdPEE0sk6ZhID6i2i8TMgILf5asEZrHjiq8jVgVV9afEswV1TJjy3pxol/Y0OR9b1ms16Xw/+6vueV65/wBJ/Y6La2XPvrNZr6JHgvgxZiDfuPGuktiB9dZrNOkTbJZF54FDWpP7VrNZpuwq5IJJhXg3ruGTgk3X0vz/ANtZrNTZZPPBz65PHv8AU6kgBIJ+n/n76zWa10ZK2cSxZWCSD7MDzWu9i5jcV8osMAeCpFe/F/rrNZoamnHUg1LwGGpLTmtvkB+L9hGIxMMh/lBpInIX5SsbleV8MyeDWV//AGEijptjKkkjySEIGJIid0D84qz3UeYHnn9ONZrNfHyj7j6mGcEG2mkDRy8MIqVQfGIYtiQtZAljdnmzd6fwfGQEhk9H12nVoiJyGxLNXYVALL3UQQLHH31ms0haqWPBY+mx+ohT+GCSze8bCPbsYVuyGQYRY5GrHhio8k9y/DW6kCeru1/DQIgiZsBGvygNGAHAJPcbP18azWam5OOUWj7nTP/Z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5" name="ZoneTexte 4"/>
          <p:cNvSpPr txBox="1"/>
          <p:nvPr/>
        </p:nvSpPr>
        <p:spPr>
          <a:xfrm>
            <a:off x="151319" y="2564904"/>
            <a:ext cx="8749625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All rules are applied simultaneousl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No pressure, do not complete the task but master i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No GUI. Yes, you have to use tests instead :p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At </a:t>
            </a:r>
            <a:r>
              <a:rPr lang="en-US" dirty="0"/>
              <a:t>the end of each </a:t>
            </a:r>
            <a:r>
              <a:rPr lang="en-US" dirty="0" smtClean="0"/>
              <a:t>session 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You have to destroy your </a:t>
            </a:r>
            <a:r>
              <a:rPr lang="en-US" dirty="0" smtClean="0"/>
              <a:t>cod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You have to change your </a:t>
            </a:r>
            <a:r>
              <a:rPr lang="en-US" dirty="0" smtClean="0"/>
              <a:t>pair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You can change your language (C#, F#, </a:t>
            </a:r>
            <a:r>
              <a:rPr lang="en-US" dirty="0" err="1" smtClean="0"/>
              <a:t>Javascript</a:t>
            </a:r>
            <a:r>
              <a:rPr lang="en-US" dirty="0" smtClean="0"/>
              <a:t>, …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47606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1331640" y="980728"/>
            <a:ext cx="5940152" cy="599478"/>
          </a:xfrm>
        </p:spPr>
        <p:txBody>
          <a:bodyPr/>
          <a:lstStyle/>
          <a:p>
            <a:r>
              <a:rPr lang="fr-FR" sz="3600" dirty="0" err="1" smtClean="0"/>
              <a:t>Iteration</a:t>
            </a:r>
            <a:r>
              <a:rPr lang="fr-FR" sz="3600" dirty="0" smtClean="0"/>
              <a:t> 1</a:t>
            </a:r>
            <a:endParaRPr lang="en-US" sz="2400" dirty="0"/>
          </a:p>
        </p:txBody>
      </p:sp>
      <p:sp>
        <p:nvSpPr>
          <p:cNvPr id="8" name="AutoShape 10" descr="data:image/jpeg;base64,/9j/4AAQSkZJRgABAQAAAQABAAD/2wCEAAkGBhQSEBQUExMWFRUVFRgaGBgXFhoeFxoXGhkbFxoYHxgcHDIeGBkjGxgeHy8gIycpLSwvGB8yNjIqNiYtLCoBCQoKDgwOGg8PGi8kHyUsKSwpLCwsLCwqLCwsLCwsLCwsLCwsLCwsLCwsLCwpLCwsLCwsLCwsLCwpLCwsLCwsLP/AABEIAKgBLAMBIgACEQEDEQH/xAAcAAACAgMBAQAAAAAAAAAAAAAEBQMGAAECBwj/xAA/EAACAgEDAwIEBAQCCQUAAwABAgMREgAEIQUiMRNBBjJRYSNCcZEUUoGhFTNTYnKCscHR4fAHFiRD8WNzsv/EABoBAAMBAQEBAAAAAAAAAAAAAAECAwAEBQb/xAAuEQACAgEDAwIFAwUBAAAAAAAAAQIRIQMSMRNBUQQiBWFxgaEyUpEjM0LR8BX/2gAMAwEAAhEDEQA/APTxreuc9Znrus4aOtZrnPWZa1mo6rWVrnPWZ61mo6rWtc56zPRsO03WsrXOetepzrWaiUPrPU1HnrRbQwNklz1sHUGesz0KDZNnrRbUOes9TQoNkutYjUfqa0W1sgJeNby1EG1megwo7L6jMut3pZ1WckBEJzLDwa8FbF/odBtIKyHPJqJn1R91NKvP8S/kihI1+/t9ARWmfw91tR6gll/MAob2AHPtwP10LHofTtxpN1hzhXNZD3seL40x3O/DBSrAg3z7HVf6vugPOI5Py37Cufprn1E2ysHRB0Nb3Uf2yb9lP/XV19Q6qnw3F3LKObLJ4aqADEilNmlPF39tN95upAeMlGfP4RrEFwRkTwDh83nuGjCaiqZpR3O0NQ51mWqTvuvTKHCyOCIyQQmQyJEakn2pmBr3rXW867KudO5xikY0gY9qkjz47q/U0NP1UL02XO9Zqi7rdM7wh2LEfNwT2imfgEAcA8nx7aBhndUgYM4lcKAQHbkj2iLVxfg+NbqA6bPRDz9TqTbpftz7cf8ALVFl+I5gjuJWoyOF7fy5lV7a54H9ddp8R7iPNjKwKIgsoF7sAzHEggctX9NHqYB0y8bi1UsylQOSxHsOdJx1qBiAJFJJqvezqsr8S7icKsk5dWSRmX0wnaWEaDwLFpJz75fTS/a7weUK36qKhCE0Rk7HPwTin9Mh9tCOpRpadnoQW/GuaHvf7aru038rSKuZq+eB48/TToufrq6lZFxoUjrMv87fudZ/jEv87fvoQqv1P7f99Zx/4dWs5NzC/wDFpf52/fWv8Wl/nb9zobiuP+f/AE10v/nGsbcyf/Fpf9I37nWz1OX/AEjfudCmRR7/APDWerfgX/XWBuYT/icv+kb9zrP8Sl/nb9zodSx9q116TfXQNuZOOpy/6Rv31v8AxOX/AEjfvqD0T9dbCH/81jbmFL1J/d3/AHB/trn/ABGX/St/5/XUSbNjqZNl9ToWbczX+JS/6Q66/wATk/0jf21MuyX3BOpY9jfhf7aXcg3IGHUpf52/tqVeoyV8zX/TR8XS74ofsf8AkNF/4RiOSv6ENf8A/m9K5odKQqG6lPuf7f8ATU8Jmb83/D/pouRlS+5bAugoJr9DrJurqg7nUeDQHJ8kcKLPANaR6hVRkztNlLV+p/Sv+uu1Wvmka/YAeT9PGg//AHRAcR3MSRQC1ZNFQcyBz/T76HHV2MsiRgPHVEhEUEEmlXnnLIfN4rnybm5t8HRHS/cNttOr+7eavG7P0HP20t/EaV/TicLGSQ7ISS1A0ADybH19h4vRkvWpMBjzcYAPBCkAksFwojIY+/t7aE3PxNIIo4y6lpFAD+qis1i+OKDVXND5hXPhHKy+xIUdW6bIioDChdaIYXkRdnJb5u+fP9tAnee8qqMSOwg/JzlRsEefYef00/XdbgyZCTGRSkOJlyUue7vNAKxQBuKsMCK4Jd7D4fIUJKIzEQ5apHMgcmzUhrsoV/XSbmHakUs9eLRx4JGtKcxTcEWbsLXP09qPOlHWt9k1dpPd8pU+T/qk/wB6Or31b4eSIB4ZsXxJQZVkByeSe+rFj76qm7k3BYmTI/UqiK3HsH9OxRH/AB0N1A22HfD3T/w4lkQglXsGPnFiyj/678SDjKh71oqbftXGQDoS1xuoIIVgLvEG5Tx5NN/KdJl69HGKeOZyBeRxkOYYPTWAw7lWjZrjwBrn+Niz7KGMKqowZDiZD+UnGqjThRY4s9wGlu8jJVgAnGUrGvLwpffQFtM3I7R/lj9xf0I+9fOaSiOFjTkt+eVSeBxeCNR/760z2wsEfiSsSM7FIqJfGIv1GofY+44gi2hTtlWVWMgNNkpIVHAsMBwfUP619tOZk3VpVaR7I7YXA5aspSIBwv8A/b5131GdRLFZ7Yg0h7iP8pTILrzyv6aWbeQh8KIzkiA7jfaS1Ae9uEFasG0+At+8kn4TIGTENJIighpELcAlvkBHIHn9sZindxD09vBdZGND3H3oHn5j58+db3u7B27MpJ9aRmWjZPqOSoF/YgAf0Grts/8A0vdWWSWdc1s3ZCiwRWOIJAvyHF17al3PwPAkSh9zMqqAp/hYyrEWBWRzmr64sOLvTInZTQrRh1c90ccafOG+WMMxPupzZuDXgag6Oe2O3J4kkILggZsIl49uImP+8dXuH4K6TtCCYTZB5llkYEe9jLH+2nW2i2rRlYEiAWl/CRBiV5xscgi/H31qNZ5t1HdyxJmgdfqy5ChX8w8A1rafFe6of/HPIv8AypOR9dWmLqe4V8GCOxDUzHt7Sq8sq9oJewCLpGJ8Xo+DrsxsGACjVidMTwDYyo1zXIHIOqZ7Mk6fYrQQV7frraD6G9No9ov0r+mpl23+rx9a107jzRONqT7H99SfwJ+n76Zkr9f212P00NwBbHsP/K1Muy/8rRwiv8xGpPTUef7/APc6G4NC70K12Nmx8D99MA4Hj+2tGcD/AL624NAqdNPvWpl2QHvrZ3A+v7DWhuSTwvH1P/TQsOCRNsPf/wA+mpPSXXHqhjV1XJUcfUDzzXB/bUsZA0ljGomU8BTwffRMUxU8Af11rbRlrth54oHx/wBdMdp0cH8xqz7f1vStlYxb4AN51JwjNkRSk8ceBf2+n11Xd98VIAxRizGscqAJ4sgfMfNfqPvzY/i7py/w2I/nQtzziDzx7nmxfuBqjHpLKmDyI8lIzY2AqsoJcXf5QBX0x45NRlPODu0tGNXIi3HUZJGBDHLAjj2UAkg15N354HnU0m4yA9OIytHTSIfAUBD2kn2Yn7gHz41xt9iwZC1sFyzVrLKoJS29zYxb2r9edA9b6qPT9NFDEf5jAWKPgAkVwoy/ViB7abS097t8Lkrq6iglGKy+Bu9vI8e277QqWN4pxkTTElT2lQB51Jt+ott1WqHpgBmkNhghAON3QyrgAVR+1J+lbv0FpoFFtTKXtWS6Vr/LICx55uvqNM32LAZmUIj0CrPdLYtMFFg4k3S/YnSyneFwNGGblyWBJi7gzuIs1KNx4s8eeDYy82RXkaA+It3DEsTRiKR45UlpiK5UhEq8rqieOOONB7qHBg24f1UclVMYGRZQxTOMXQAUm65HkeRrvq/RYVRV26uVWNuOW7gitWQ/lZxkPfyfB0kngLirqw7oHWQcJvSFygk93B9P1LaNWNfmxs1yovTodXikhkdnEhvBVCmwWtVIWuQzWQxFfpzrzxNvPFucZSqQnPC5F9MlUVXAdgvulkcAYjzwdPU6Tutqcty6SpKAkeMb130wX8MYggISC3F0L0sXboVpVZdd103bNkWxOBGTOeA2NA2eMq8j78+dRbTpykI6qrKQC3cCwLXlRHvyPFDg6856A8IkMMhLKwUj1PZiMglnzVceaP8ATV66Jto0nQKwB5NBvYX9+RZ8aarQltCL4j6QnLRgurMRiEKspBORNDkXzf0x/XVe3XTJArExlsPygH1PNAVVjm7B+l/S/VfiPZJLEuURmCMJAqsAS6kY8/Xmx7duhN/08SUscBUqxt+0Hniw93Xk/wBRxpZKsjrJ5DuZWdGADq5awe0eLHJvz8v99GtuDKg9WMFlrJ+TkzEAeAcB54HkD60NXLr3wdizEeo/vmqgUPuAbc/UgA6UD4aVwKkWzVUwNEGzYqwKBN1rOUkakKR1ASbpIpNtIgy9NXKtIlMTVA2RZoHjj9ORdfQ28s0SbZdxAWdTnC0ixUp9RkZcgqsfB7SeaOq1telHNXTck+m/ivcc8XxX3+/jTX4Y3A2USoxWZxLI7yF1B7gAFv6AVx/q6MWJK2WqbpMwkdk9Nkw7FYMXLBfDNkKBP2Ogx1TcRtT7L8ygGOQH5uLplFAHzzrW6+PUWPIgJxdZqeAa/Kftx4/XVa6r8ZTfwzzq0Yj8gE2zEyIlYKbQGye7kBW8jnVExKLfu+vRqAJc4siVyZLCnBnuwSAAqk8/TS/dpuVkpFSRSwonKPisibOV8fQeSB9aR/BPxIN5OqyQsPVuiguH8MFqYs1hyCfAqgBr1E6zb7BVd0UaPcTlmB28hxCm0dGQk5DEFipJGPPHuNO4vhrNQzyzIxAJVWUBftQHtpyYV44HB+mqr1j4tmg3EkbCJFBHpl+WdCikvw4oZ5rRH5b99NbaE25YjMwP5v2Ouowfqf3/AO+u02g+p1J6Z9gdXPKo3HCPcgakX0x5cGz9H4/YajG1vz/x1PHtvYDn99axkSwrB25P5v2YHjz7ke49tbk9JOfTXEmhkXs/fyNRQuAa9Mv/AL1f8tE76JJACY1Rqq1bnjxfHOptlVlYOoeowgikBI/1aH6nuPGgNwXkPexq+F9h+wA1NBGFUDk0PNCz9zXF66L631M8qmDLAB7f21jCh513/Fgsy5C1xse4y+X99Y0YJB54v9KPm/2/to2I0RKx/XUsTtfGpodoxIuh3G+DyOaH6+D/AEOiIZFjVhYaRb4vnwXAr2OP20rkkVhoykF7PasR3MaYciz4+p+2hd78WGIyn02kCggYcm0ieZrHAFhQAbqyB71qp/EPxDLnIUfAY4cA5BopmHHI7csrNj8gvuF8R9ZznWdQzYRkypQVSPx0XFiQrGnRTZ4pOdRc7PRhoqKHsfV1LSrMyhHACE85PWJGC8gZKDRqy3Gqxv8AbAOsmK04xLBu4lA0TBlN5JSrV2T47SNID1OJZVaN5W26SgiF4lcoFPcUnkk9UOcWa+AMjxWh9x1hpS04UpGTimTH1aByJIHaoLm/N8WBxpNrb5LRlFYLT8M7YEzSRljLOJFdWshsgXUeT3DwScapq86i6dINwJVJCYSxoKFM7G+wBe7tUk3XGZrxpZ6LwDEgUwHg8AMHBkkH53ZgW8BRwKqxqTpu33ErSKWyzEZDiyplVGcs4uwAGBBHHK8k86Ltu2Uwlxz+CN+mZVzShsVy7i3qfnI8AcAggm/W+miR0thHEyP6kfqiORcLbKQBVPiqBDZck2fA131/4Y3EEIznhYjwkUb5KwQ4qH4NdoX6DLwebTwTNGDHGzAsGaQnub2fxxXK2PJ81lofVFJxiq2yvzhjBOsSRoY3i5YoQceAoNI2dcEEk+3zkX5OmfR+vOIyodGzGbBRYyZWUlSo8UIi3dxbV5pVPT0YKTkVRWNCzi8ZAkb/AFfOKlQODlRuiO9rLE7qjYkAWvLKvFLQxOI7R4rjitK5pEmk78B8vTzv4kaay0Em4Y80DE0ocAYijz2L55H30/2iRwNBtm9IIUPOUvrGY40Q9GPEkntAr9KrSDp3UYlcAxRrCqkExRWrElZArY/5ZBAIY2DyTV6n6pIWYNI8SsncFBQhhHk1lzRRfAzF0L+h0YZW6/sTks0l9y2QfD01IwjVQoqWNmuQMaYEMrY0FNEff7DVe3fTt4cQFMbqMWPaQWCg5AZd0ZPA8HtP1BOT/GssPqHbSoxd8mz7rxiwBX/WIiXiwOH9/MvwR8fHc22+VQzv6alExVQFRwWtr7vU8/Sv11RxQm9qrOOn9N3+3libONkYrmMzlRVQz8ikxYZBRd0eedHx7o7zcSLUsEoRlSVouMVYgMrFaosVOJHP3AOrtuNtHRBFcUD/AGFfeyK1VOh9K/gIu9jIzNEAjOcY1oGUqCaCqWIsV4Ue3Kbc4KKSabfImmnaHcXOyzN6YQrCmKqWOLE/ijvOZqvlBHmtNukRxfg4rIkjumJkIza1f1CwBrwhb/f+ngWfouzO9km/jJYzEQf83sVitt3EH8pUVY8nydQ9c+KfRlRoQrKA5DjEh2urZlGYYAlOasH6WdIlV7mByvgYfE/pbeAGeQRZmlwUEMWNkBOCW9z+hOvK54c5bjlJFcXaknx4uh7f99WCTrn8SdrBk0ywmNRGzqDI6Kq5B2qiSDyTzlqvQdOka5YxG699wMSSUzeuCKxCEe55vjQw+APJYI+noI1tiWAo0gAseADZ/c6FPREYkEsC30Pn9vHJ86D3/VnYG6X/AGCCAAOPH09h9tQ9I6s0YExlBGJAUk52bNkVXHH99LkGCwxbGbaRyRQP6Ydy7c4vdKpAf8opKsUeTR0w+Bet7oNHJJuHeF1ZysickAcAOSAGY40Ca83WlMXxGJIWBW2YKquG8FjjyPJq7ONa5XfPCtxvWC9qnjwOAftwBzxprBSZ630br/8AEyNgn4a5DO1YFlYqQCprmuP0OmkuyRzbIrH6lQT/AH14x0z4xZFSJZ3GCgVdWAPm+/1/rpjuf/ULfIcYsZFr5nxu/fyQf7adaqF2lkRTrpiF8n+mhdl8RPLGrxKqK6gjsphfsfuPGsWE+WOuqzymicbxfZcv1/7aPfqbkARqsX1Nc/0FV+96XgAeK1HHugzOlm0xvg13CwR9R5H9DofUaLaNb53RbQeo+a3ZrtLDM8e+N0PrWpX3IAJ8Ackn2A8knWpGABJPABJ/QcnWlcMvFMGH1sEH/iNYxqfdYLk142Lr2sgWfsLsn6aW9d3xwVUPD3bh1AVQVWTk+4RmPj8uiN1ljHgbT1Aj13ELRQ1Rvtar9xX20N0rpJdcZSykGUEAgq4kAbMEDsIcmrAPHjkaVyLQh3DpOkmRTzTHEZAUaDA0f6X++nKdMUowdqUjGxZ5bt8VzydAdT352sMbUCPWhjZmulRnCsx+vHv7XftqrDrU8kMzQRBwjrgLLd08gmBBschlUCyB3i6qyjkdGnoXyHzT7hY5TGVcxbqoiXoFXhCcjkkLLIbBB8E/TUHTmlUuoYTToWd3LIcCoVAoQlSB6c5b/dFnmtRdOjlj2k8U/YryRIkfBYAiM5JjRYeLAPs3gjQHT94E3jCZgkKqCeQSzSbeNCcBeBpx5+vAvwp11SYftFkaRYSYyFk3GS2rXHKySqxIFEF45VoeAV+41Nuumw7dM2IgEkckHaQDi5APaSo7WGV88XojbfG8EUasE/GCJE9lRkkbNh3FgoJyJAJABaiR5K7fdH/i/UZD6hYGVVZpBaSDJSikFEJwuuO6x7HQajy1kyTbKn1CKSCVl/h2oeFLoRQGRc+ymvr48+DoAdXcl5fSjdTlIVMoDKgUMBRWyMSAKuyrV4Oj9wsksrq1qVFsK/OmBwVUB7balJBAo34vXG8gWR2yXOmxkBAuwo5LDi2YO3B+nFadSN0reCfpOxkzUzGJU4kdvUJHpu1NZw7GUd3PsQfY6ZpvdsriTbGRGVwsIc2tFsG7o7BHpgAZcg2OPGk525uEkWFvsAt+blbGNVrEl2pauybJFASbaaL8FZS4RRHGpyHaMlXL5eALYVzdqdK7aG09unJOQDud80m9BcBzmFoEFGsgAWSBiTQs1X9NN/SC+ukZV2OdJahiloF+WiT3MR7UAOa0qnhj20skkczPJtnZ0VomCu0UmPnwyhuDj99Ptr/6rPNtJVmgHqlGUYFgCxzU8UcSKFcm78jSw05JHV631UNWacPAJ/iMUm4U4EFlUZDIIWMjqvN2qqfAHFA83pLueqNj2k0z/h2gyGLANkxBL2jEAgg2DfNab7DYRNGHMuSh6sIwuvSLAdh7yXontN1wfebZ9MO6MKw4k5YRiRbCssPrHkLweLGRN3fHJ0O+TiK/N1YF5vxWxKgqrKaaTnziK7QBVg3fnjR3SN8Wj9SzmTjS2EFHuQgKeDHjYBPzACrJFzb4J2W0hD7vbszmJmOEsgJdcbQKZAuRJ9uONdSfBKTuDt849qSEApi6MpcyMQ1mmyAsHjEfpp6VUjRk07fAjWOFAuSMQRiWsFWXJCuSNQADSsxa+Bfmq0z6K6lZY5EU2E/GxXIMFMjkgg+a9MccYgcedLd506dGo16eMiqO0jtYQIWNUmagNdcWASC2m3UumJHtTLHTeiuGamRVLg3eD2ZKNuWBtjzQA0sU+Cs3GsZHvwt1YOJBJK1wenSuxA4SOQ815BKobHmMn3J0l631R0SMNIw3A255BZ6xaR3a8QMHCgZGuCboA6D2MsX4PcI1jnWR3JUjEUkUbOxBWMBODYs2fc6L6z0KVix4CCFRnlG2WaIHk/8A5CAhYfdv66z4onyyq7naGS4lQBpvT5DCyy2oUm/Jri+fb31AkjplEtPk/hCwINefHsLF8Hz9tWmHaFuobSJz6bTGRo1QFXjj9OULYPK2ic/cEe2g22rKQ6PEyhmZh5dI8QaFLQLWzMTbfKCOdIos21CjZdPUZSq3KNZWqxAkeiT+a8bGPi+dHRbVGWMqXJl8L8pXH8M5kfdCPHkH66j6RvjHCzo8YWRochJ8+JYOVC0aQmyTx+hvTPf9WikneTcOkMjoCgZ6C2BVUBlS+3Fk6bamgJ1yJtz0VQ+WLBak5BDHJVJAoXQ+Uk14NDm6StgxBCYHFQ1tkPUru4Hy2bNNzyPGnu3M00jpEnrDkMQoZSCMvJ4YnzV2a8EaGUyRMXl283IKC4S0Q59saxNjmvp+wg8ZRpU+CpQ9SIla3IX2H3J+/ihr0Dp8oGwkidFZpSjBjIRQA4BFUTTH3I7h9NVH/wBoktykZB9/UcH9KP8A1026rIR3t2UVFA5DiiTZN3QBrxwBrTkuYiJMhfYytkyJGyJ5F2QKFCuP/PbXWy2HU5wz7fZsY8iAQkZFjg0ZBZH6Ei7970J0lX9WUqWIe6LEg0fHvxxr2D4f6nHBtoo1kelUfQ19R41ya+u9FWo2V0nK/a6NQQBRSih9tc73demmdFgGXKvIUkKW/wB28j9gda6XI/op6wqXEZ1RGQ8kH6e/jRLNftr1rPF7mWNRk91+5Fft/wDupEgvzoiPaj2s/wDD9tKFIWbsuXjTEtHKWSQgWEtGZSa/KcSv6sv1002HRvTRVzJCqFFkk0BQsnm69yb0SNuv0Gku628pn3aAyAPt0eJsSYwxLK6eMbOK8E8Bj4uyC8YqsnUfQD6LWfxfUjLMPMgidVV7AAzaJQW482PAFWKRo0jaQmlUFjwfAFnirJr2A1WJN8Y22UskqLhC38SGfHj0siQnuSyXj7BSR41V+ufHDPI0sJlSCTbKzWFrFlHgWGDh3C2GI5aufCnVGLYy+Netod2kaXxE6A5j0z6iKUYAeTmyfMPC2OL0n+DviFFkWJw0pzPqYl1yxvFaJCZAgAZEGkJu24T9Xm9ZtqfT9IvtWQAsFcTJlHFkZAClMqFSWr2Hitbn6NI8O5waNDDIHY5sZCuHpSsGUlsFZSW8iyTdVal6pUGbrrrb2KYsoilR45qYFhUivEqKx/IAUJJyBZbx5ICHedRkWZg7ktjeQILepTFOCKK5gMaAsi7vnUhT0jMzELUDiP1Q47ezFY6Fepmh+QkVldUdddZRo5FvuCfNkSRLEFr1fxK8hfHHlqsFSRT3WuBk0o/Mzbz1HIwjtlVc1VWR1LteAAr8MuxITg8VZ1YOn/EboSVeRSpCo4BNxmTJqWrdQ1D/AHQKpq1UJdw4zU4liM3BQePw3plbsKqysQKK8tiFB5Z9PkJDSPkWwc3HRN4t6eZemkfIljbse7trwC8BXuwWDrPSz/Hum22ob1GJZ1rLFir5AepWGZyPtf01L8L/AA+snqmWRgYPRzCkBs8EtjSmzbNyTZKkke+q6vW5YgQrGP0oiqqDUoDDJFIFAMvoqSVskHg2ObbD1fdepP8Aw6tNCLLUCxkIABKNd3jkL92APubMavIs/asB3XtjAJlhykWX0gy4oXdTK6xZX8qq2A8/Q+5APkvU5n9QKiyFVN0DTWhAJy57sqN+3HA516b8X9PlZ4p1FsFGaLVn0Czx2GUH5mDFfluMc3zqqfF3w9LuI7hVXG3GUvdyWkPzKoNdqim4BpAea4MX2FnwmKJeiuV9T8QXC7HvuR2CNK134BKmx54PGhtk3B9RJBkKIWrC2AGGRrI4P5+/sdQs+7iQxpNlEwaMsh/DoqS4tlDBcWJJqq9+Nc9I+JHhVYmClAaBxBZRbMKNiwGkc8/zn24074JxlUrGPTN086MqcHKBVDX6ad5BZ2IpVOCWzWTVEnwbF8N/EkcE0Qdcyh9QyKWpWZBC0oWPiUsGK4jwEFZG9Vb4f6gzMIZZWSIuC6gnE4AlSQBbKDdj73550w6P1l52ZSMUaNsmIY0a7Bjl3U35j8wNHk8o1WSikpYZ7Xvkg3xUeorNt5gOLwMnBMZPIY9oteSOLA0D0zrboJLhDom5SIPTMXZ2HeAOKOZxcCj22RyR5p03dBZ7iZizOxshAnrrI8tCzQDAIC8bCgvuLOitv8Qgu5bAhJ/VUSAAGcJ8pPCRuokrkVYNCxwg+3sy8ybs/wAdCcysSybhGOR5czLuMaAo8Ko8jHE/prnqI28kqQo7VMrSsJCTSxth2gg9xYEUK4LEcAjVTj3AZMXixkO3LmRhciupjODWAz4DgVxcrXRFnmHf97bpQ0W4jkqKgCJAMm9Jq4h7COOB+JRBsHTKnyJtayh3/wCnkG2bayvuWS5JJSVJqMRx/hkUTTiwxyq6Kg+Bq/8ATo4/4YCB8kC9pBLUCMgODY4I4sHnXms3WjJstjCXSJZUHqNlGHMzcucSKHcxoe5YkihqxfC8kxhlWKmhfPBmKmgYkSIqq45IMKIyWyW54Fo6WQ7Wyv8Aw503cPM27khIsSCIvMQ+BXLMee3uKnwafi71Inw4rg1IYpppWjWMsuILLnI6j8i/mx4N+RZ1YW+G551haaOFJAHWQWGRFLGii4m3KKoyJtQ8lHnS3qHRpEG32rwxS7eFo7L2fWW7d3HPNjIgAksa8aW48Io3KTtiLc/BaySkLNDHIqk/w54d8LS1Jk7eFs9oAsDjSjqm1WSWRD8ykdp+pNcMPp4u64OrbL13c7qKPe9Pizji3EpxoKX/AA2jFlmAESg0eLtAa1fJkh3O19aVBXpljwMlxBsBhdEG/BrTtWQPGJNq0FvG4j9PuFOMhgMSavuNg+x4OrB0vf7ncuI19KVQKYOny2Ls0PPvq19K+HpYURpVWRCciMjSZ9xLLib5PLDwNFQ/DEaGOYIcgxPabA5Iv61Q8eNLWDWU5Pg3cAlWRHW/mBpq/Q/8NI5unIGCgkOxVxmeCoAKsB7CqHj7eeNeo9S2ySxyCJ2DtS9rV5IBPJo0CTQ+/vrzv462bOzvH2x2YgxvjABvp4yFUDyV+ulkqyg3YQ3w6VQOSoJFgCgCPY3oKuBbYmjwWA8Ej6/bQnRdg27VL9VSkeC3mvcS1sGUUQt/Kf5vfU8G43aAqXmSiaUJlQ9ucPNckfUnWjHuxWy7xrfvotEGounSRyIrobUj+o+xBFqw9wRY0eq66jzVExFH01J48D9tYkZPgaG6l1yLbNGJQfxA2JAGNgEhTzdsQFAANlgPOg2WhCwnpm4WeMSRsCrfuCPII9iPcaS/FnxG+xlyOPpeiS1qeHshDfgFmsAEc4HXnI61uWimEUvpIkonC5qApkJVKYfmWSMkjJQbJxrgMOufHj7mLcwsuJkYekUCkqpssr3w3KHkEkgiglHSnStOngtE/WP4np0e4OIV45Y5RJ2lpPSeMqAKY5M1nBhwOPrqizdMUtIFiEeGA5kyRVLUTZI9SlQ8fa/5dG9N6IN9t9r6EhCQrHFuVBTlpHhSQhhIXBJjDC1AJFjydKd06ruwuBxIdVBIEhAciNyrAYhuSMi3aSe0aDLQRN6yLDYhI9QzANgDX4kRjay1FrhIvK1s91+ROnTOF3Kq8io0SgyKeQGdXUSW2TENaUvnNya51Pu0YbHb4yBkZ3skxri4YkgizZBfiifJ4B4A/Stm8hkVZACkLOyNGzKcGph6a+eVUlqsWPvrZHwa3ziRIrxB7VHy+ljGQoUHEEAZMSfb1D55Jmh6wyblBgSPrO7KqH0wgQuoPaCCABfmuSSddb/ZlEeLBFKOrj0x/wDWUX1BRkoMAhBFZEp48krpRuSZJJldY7OQU1wiswvPIg4qAAR+UD20Ld2Ua0nBJWpd+KGcMBuOb0w0MilSWVm+VSuWR7+aRgQRfF8HRHSd2rko4haQoo9TJUIPqWxvlWtBeSjgWeRyLFtN/tNntA0SYyTQxsAJlZw8q0rhOUDUoIGJXtFAmxrXWPjliZikZWMxhS2N26uyOoeNWxVlFgMwu1o8nWrIq1JOKTK4+3e3AjIU5r+ICqlkGPyADGigWyD4I8HXEXUkjhkWeCyNr2DAtiGkxtQw7ARl8vA4Nn2Ih2bJJt4payWX/MDLIBFIFoBWUqQFZsiR7P4+YiT7g+pMIZGZs5IhaKHkxYAH1CpByLIbsGgSTXI1UC2y7xdflXa9NRVBEtK2WOLKyFUUkng2yrR5sE1xRqm46cYS6cySyAxkyEMsbqWjdlQjFgzE2GuwSOL0p6VuiYDODNEqPCqkG+/H8QBjygMbDEe4I57dEx/FEczi/VzVTleI7r7iWY8sSf11rafA+np6coyt57X9RH1xGiB26kGOw+Vd5JjVD3Xyhx8H/mdL5OhN6ayIcuxnIPBAUgUP5idWLqO6gaQfhu7VQCyKW4HjEG7r20u6h1BcYgiSQ40y+orU4ZxRBAsVywI84kea0252sA6WlGErkm6xV+V8kuLAtpHJECSKc5RkG/VAIXjHyAbC/XytVemLdAwPe5VaKnBTJnJTMyKIzynbRs/cjyAX0dY0/ElUM0cX8QCpag9s8YYmmoKihV7gTKCb1F0vp4EDZFzKpe4ngLRECPOjIBauwDdysCo/2jqsIbld0c+EGxQrMaLvG0W3iLESIrM8liRaoYIGIWj47vOeuoNs38SYM09ISJeKogWjkKo1ZwNsxqr5Hvrp27XcFHKj1I7YMWelDEooruMpsHlQrEvyTiDqPcbKNymRRoI4EEg4zVmV5FDMnEpLqWsZCl8CzqL9rpleVyMZdxGjHECVg57ZEqFcFDsOSAjdqmyT4JBGdaD2O8YRRembCxZhhEvJ5dlAFFwrOIihIBxY15szb9Qgk3ZfKPCI+XQoZC4K0UN2gVSCCK5UWND9I6QZ0Kx3NI7I0K2vyCXkEo1KQgZitH5iaOlk03gdXQz6ZvWEjMXVUVAqHEFnjlaNsB8wUM4KWWIpwFC0tMPhn4wO23EUcuCxSs4BXhc2Kngex9RmLCq7gQfYC73fGANGkapHSeoHGYtXZ40IZqEkbVz3Z2ee3gT4T3PpujzK7LKBEHW0LNMqMFLMe6OwCGFLbiguR0jTayG0uD29Tf8AYgiufeiD7f359tB9agDRE/mUWv8AtAeP0OlvRPiSKRJDkqrG+J7gQpoHEtVZDIce11qbdbwSA04FqwFYkgkcEWcSb55se2p221HgXbWRbsN3hE0ccaLlkz+QCSS7kAA93k+9k6S/CG+jR5toJA8BkZX/ABgXLnAuFFBsBVcAeTdtZ1ZUgUng0R4Ni7B4PbwOKPtzfA086ZMDwwXP60Lb78Dzqrl7tpNxxaCqBOPfX2JH9wb0snWHblmkZQCPB5ckHkgDmrr7abhDndflofuSf34/bUG92UUwHqKHC8j6j9ua48e9aoiB53u4USb+I2O6RQKMkchJbAfNQbuurq/H1rjSqPqLSQ7aJlWMHcqWOTAvTF2yIII+bz9SPNVq3dS9TcsySQhFmlSONDRkMYKtMxYNS2ikYjwRySTQq3UPh/19zOEIRIbxGTcsfmGd3+554GjJJDcD2FUBZlZ+LBjDHG+OQPJ/XzqbbzKgqpASbORBN0BfcCa4+uqj09WglH8RFGVJ4RlJk+xF8f1P769A2nW45EDKhrx3LRH2o+36caigsrnwbs5NrB6e5xzytcPBUi6P+sCSL9wE+lCyv1CJGRXaNDJeORonEW1Enkgc1rieIBHJOChGJayMRjy3H0HPGvIOtDdTGGCamm9NaEgPcU9R7YjtAeInigzBUu2GWrWQjHdlnpnwj1d2aTbbl19eOR1UWgkZAA3KrwWCspLAKCGHHk6i+Ofh4b7bB4GDSxMyoyEGiWCv491dBx5FEfpR4opW3G1DuwmQKFkIdZGjCEohSvqmHqVmQwJvGw56Z1CeCPqZBeM5LJDI6ktIxObFldflAGLGr/ENHhdLyX2UxV8H9CbdQOE7GBMcgMalSRTK6vVKeczYU2f3g690k7GSNfSrOgpD5CTCu/EilOUl3xWRBFeWew6h/wDMEm1SWCHdgdkbQ90lDuGRaNCS4v3o+xGrf8Z7JDshJPHCDEysBNJcYs4kMa7zR4XmyBoNsssStnnPRJ22zJJIrdkzJIWLUVEazKuApSp4+Y33EixxpR1rrLjf/wARtPSsMPTK92NY2imgrLk5UVVhq8jje9ZhFCaCh1fAIgvjH1Bxxw6VweKAF0dQwSAieSO2WMxu4NgW6uj1VEKSQf8Ac5JuzXSklLLF1I2rRZf/AH9DMjmXaNK6jwcSqSc0SxFiiL8A8aQbbbGOgsoWV4+1ispkkWYiPFirCjZ8gHnKzxRabtpd105ZmjJxxUSKVdTjaySvGyAqw9Pgo3/2fbVegQYP6gyURlaq6YKQOQT3gOwUnhCycEeNPzd/ahk49o15yG9Mkl3249MLk5QKcvTUIEVwfPlu5TyC5IaiPIY/D00kdpJ2w7gyRzJKwC3iaYsB2kspQPXcGA5oaS7TeTYtEQY45Emb0+LsrmXf8xNIFDMPrQBGmMe2PpxMxyDZDLtyzZ3aig5x7gB+w540q1OllK7waEY60+m3WLRv4hatwY4wewCNFjjcsqwMwVASC1jIAvVMReXnQTThMY42uNlaYhAAkcmDSAhSuXEUSNiWpiL50b0/qypT2qtKcBI4yIAIckH5s8VoEc2eOaGgmWVxB6MiqXTEqeIwYyUNccqAxYkmwD9uZrU6mao6NX0/Rltu+CXpPWZpAWUGhIGEhZiVkxVFHqVR5NhOOGa7A0d02MSTxxjsjENn8qo07j12Wl+XE2Aa+QAeToKXaEqVVZvSaRmmLtGLKA2+EfFE8fmHA96Ot7Do77gSCeT0pVaKJlkZKlICVbGQPl4PGVVQ9gHOd+CTYbgAwhS3pybhm+aQ20bB4xjHLiHRQBnQ+axeJpluOrvvPTjhUeskoRHdIhA4ckAP+Fziii+R70DYGlGxiYNGHchY2ZfwzgSHvLvC/Me6uD4486m2O0yaSOGMlwySxrZ4UBLYUQGYAtQN3R+oBXcrBXYN33Xpdn1Hcpt5FitlNRpG6onzCiynBAW8AAgVxwNJOt9Xn3UUrbm5ZY8ULYItXkS+IUE0FGNVxISfbVp2QU7ZZJXXlHd+xBJ+EBEM2r5RjZ9yQBdAgon2iTAO1hxMY5Fyq4wFkaiF7QxLCyGINe1AM5WwUksgvUemyRbYxtzLKNrDTkKY8F9Vh/LiAIxZJqybHI0rXdusKGGNkANsA34bkRC3NENZBLWKxyI1aN1vEidJYzGDA00wEsh4Mjmo0BFMDQJ9z9rJMXoXDHuJAAWdSFE/nJbUhEy7ivBDRilAFAAHRWpSrkZaSk8OgNyPXphLTkYshfwGQBqFgByvcaJBfkDxqTZNkc41xKRusORRYS4CsxK13O6S9vPdlyQAaI3WzcyMqp6iSqfUIIWJm9SSaNcwSA1xs5rzQXjUXUFhl2+3jhiWP1WlEchY5mSywJJAbFnYIvH1JHA0n0Gkq5AN7B+AoTFTIkSMfUpywzUtwQMTfOYPBADDnTCXdbhDEBGyXAYoVW8ikg9QOsii7dVL2eFsk1ydQdX63EHbJpFxUIuC42uJBTFlFgNZz8kSt9gOoIWO0k3FlfxlXbvkFQ2zK7EHiNAPF0MjQ8UTVIXdk3t+oBIWamUtt0Xljkxp4jNyCoLFyo59ru+NCSy5Sxicfw4lQJKQrHONVC5FeGQAooryLJsg8u5tiU2areZdIzEqD55ecXZwcmGZL+StmgdLv8UkdJ4z2MZIliydmQuJD6jmRgclGPuaA4o+SYuOb5DJSxXBGxdFn9aRwkR9IxjFsmyDRgUbZVWJO4qvIIu7Gpd/t44IY5Wj9SOTxIAo57rXAtlxg1miPvzrhoPUaQr5WLl4kEls5CAoQQzW5JL1kC58itQy9HMbQwg+pkiyO8RMhHBYKAEtfF1RJsXYFaCnQHDwBbXfpGcpVyUk0F80eQPmHjgWPOnXwt8RGLfJOqtguRCP9CMCPqCVLc88/bQP+FiRWlET4RyBBWbFLBP3YgUASf5hyNDDaqsyotBucqa8SF4BvwwyYEexBGi2qErsfTfS+px7mJZYmtT+4Pup+hGtwbZyX9QKcnJqie0cKLNflHivJOvAOm7t0fFZCtWD3NjbDHKgw5A5B/1R9NWzp3V23G7jdJHwSWFMbfxHgGsH5rALE1zzpHKuxuna5PTetQRLE0rop9FCUscKcaFfT2Gqr/hDxbGN82QumbkBSyO/cO1gQVNhGxrwD9dC9Z6285lh9LON5UW4wWkQEnJHA5BwFiv5T9Rdln6ltZUKt6qjxRTcJ54o9oNf20yyJOLhhlO3W68pKoDWCGUDG65u2Wr48H3++tRb7dRdqKuPse7kfXtPP66F+INzHFKsSMZUdQFc9pX7MaAJHjI/8tKTunHasppePav6GjY0lO6oB62rfcD299Vv4w6RCu3l3IVRJFHkhZmC5qxZBQ5ouxFDzlXvqly/EsW96Z6M83pbiJ0aJ/z5R9wZO4U2Ni7FEjVm+GviGDf7dtqWlDlCozI9RggAZ1mW1fyPPdyby86q1QsY9ysdQ6usmyj3DyF5nkaKY3RijUhqUoiubV14BJqV696sfxHvS/Snkf09wTGhT+HZlYIzYCUA3mVZgcSKJBBPnVN658NS7OHbKMXfbOZixjYM4Vg2fki1sRkeWAjv5BpEerzxqgil5x4jXFs3ZgPS9JfJBkN3fdmfmAGlLUmsYCtruXh2wdTLFJHuWbMoCpBUFWxdLEhMagNdc0QfOt734rn3SIHkeQlmjVOxh+IAotQoDseApNVya50u2CMVnjd7jaONnf1e0MrkgOWZQ95UQtmyAKJNcSdQIjk8oQzeVAUOSoBx8tIoGRZicS9+eW3yH4yND1hfTjSRRGVUoFAdmWaR5iWsyHO1KFgSaZiKXSnZloVnjdqXCwCynmw5agTZxSiRda52chZHU9tIG8HJgXTEkgc4kLRAF2ODqCWMRt+I62B8rEEsbalJDWoIC9x/n+lnW5wZvaO9vstxtw7ruhijBVgWSRlZ5EyCYJxkAWYkCrQ8g6wo7ONuu1EjHcSn1ZAyI8zWKrOqqqtsr8UTRAbpJ9XEhvQLkhowzAxqrFscmGQal5L2tHxfMkm43MqxL6zn1y0qxBSB6iWbDUAFGPzZEjEE8c6eDi1kzUrwPdj8HbhZA8sbYwIy9jI2ScoLUG/lJY/ZEAo+COpbRBIMExjIYYh8TCgkYWqlgRK5VlBsUFckkXpDD8V70EbV3c5Ni0ciq11+VieWQ+9tiQbNjQe4Mn4biIDGNV8XgFpmHaAaxYWPNNR50jafH5K1tfKb+RPLB686TFmb8UOAFohVVZJZZFWwi8pZVgRZON8Drd74Q+lFgWEEryAKoJSK8vJskG7YeL4J41NN0aXaSiJzHOkzgFQfxWQnGN8Caj7gD818LdUNCpHgscqxZwh5jlRyCjyshUWB4IDL7L48aFrsIrvOL8h2x2KSQTMv4ipKFU5CsVKyKqu1sGtnFsoVru78a2W5SKYhkctRkjGZUhzTQoyk2QlkEAg8tZPFD7Hp7vFxGkULqGEhoqzB2Z29RawVIlZcG8ZDwXGoOp7ZiJWZRapHJzioxkJKlRnTiqrHPx71esZulQVudqZNqkyEByzh1BW7XHtrhsx3GqquebLMJC8iGMo2MhXgliCB5yBAsEEMOL8gjRGz6o0W1FMGzlXI/KeY42rEMMyptcyGPBqhrIJ5hdyRoCWbmQfhRqSGYBbLp2hQTzkKI5s7bbyQynf4CY0eaKaSFpMckXvpiCR6khwX5QPUuhfggk+REJZYUijxJdS18HhixHN/7N83/TU3TJsCyZMLtgzks2ZVVLMoouQqmhxybF0LkChWZQrOWbtZO3mw2KyZZOVoeAFNe/nSWUqL7le3cLNI6+mWSwrM+V5oVEndfa2d/fu8V5d9W+ImklhEyMACS6JxiFHZgQvaqgquQ/Knn31Bvowq/hoGFBhGcmc5cBji/P8AtUSfrS0IP49TFSRnInJMGXIUlYkA2UkZ7K/rwKvVFkEXtuh3LupPxaiYYhDBeIwT0mRcUUlR2uSfqMC3NAqthvGbbGF8o2EqqXYglWkdmaw7KYipTJiLsE3Xza1tRMUjY3x7R3m7u/pvkvBaUNFdN5yBJ45yLpon3EvrPUKSepJlIBwQUBAUm3yUIWBPze2lwWW5q0dbgJBuzCIWklkDQ1atfqMBG8Ttfzg1X0f5jfDTqnR3hhhhnLxOEaT08R6eFsSoKg5PkVBp/BXtHDaVLvktZIY48omKxBo48WLSO6B4+RGUJZVYkEkjk1Wo99FLDnBm7kJyULvGWlcR1nXiolAb3oAVp6TJNtS7BA6oxDSSiV5YyrTFi+ca5dig1+GSOARiO43yNHdRd/Q3BQZmWnD+mFAZGQlRgSyquYKgHzbEnMDSr+GEMe6UoBI0vpFslXCIx3woLKYwVIPPPbZB8HEesXgeSPawWhxdlJZlxCYkgyFnCgF2NAAWSBjpaVjqToI226RVeVAxm3Kyqn4vfgiovAo1KJQVBagVJ88g66LDMduZAEkLsEcFvliUYJEMTiHBLDv9ifPsH1/p8yiIDamMq0ah2ezkVyUEAlUvhrSxRQGtEbbpMke5l24LkGYHllpiQDZINg5V9Rx+p0G8GwshvQ+jzIZmdWVkkJjGB9OyrKe2OzQlKsKIBw9stcdM7dxLNvIFmMmd+IwJKVlIYkUmClKsnleDzY0u5dtwUujwoOR4I9mNVRo+9EVwfGtP1VzKec1UgICQeSSKx5BvJua8AXqe51wS5yWLbdM20uxsi5ZVOLqlViBHI5KjFQGPCWcsTWV8GfAsmz2m1IaCU7ko8pDRysoUlggEigqiEALkaP1rVe6d0x5dvLEajEKN6ZIyLS5CUluCVBBKkKfN2CfLfY9WWOJF3cjrlC0XYbUGalNohIIA58Gslrw2mTxRXbi+5L8Kdei29fh+u0XqEPGRkECBRmWrEhB3fN49rrXqHw/1htzF6hheKzwH4JFC/PNhuKIFVrwfcbNTPJu0iKwLuDgoZUiaJXkhAjwBYmgbAI+U88jXo/wx8RxQbYgTbg+ngrRywtcRLBMQS2PDHxkWo82dUS7EZ+73Fz6xskkWmiEn6mjV+QfY++vOupdKi9V+2OTuIB9QqQB24kChfF/73nXprspJU/MBZH2Ni/64n9tVXrOy2iy1Lt0LUO4tCMvvTSK3m+SPIOiSR4MFIsqHCigSfIv7gUPBoeRXvWj9t8SttZ1mgxQqGIS+ACAPT7vmDHnj3JPGod9vFlQTGHEs7kCOZFjBUDJjFgWUG7ALi744GlrgSLYP6H/iDXNEfT66PJTc48HoXxP8aQbzp8C8zP6mLZCSL8YAY1TUeGYiy3yi6JB0kbr5VoY3CF9uJQk0ULM0fcFWQ18xuOgQFPPd918kjKtUpR5FkVY7HabRXWOjgO9qUjI2SQaB0qXdvllmbyVkYuMUbIvZJ4u7NHm+a50uClYJd1EzlWCMCUUKSxESswJlJJsUBldMAMWJ8Ea0kKOm2FpiqyWFR2IKuSZXAFtnWI8UAAaAvRjbkOmMsglp7R5GtVC2XkZRbMXNWCCTiSCb1x0d1dhjElorFlAILkuZAkar3M1DAZE/MOKAo8mqgjZbXFHWZvRLYBMyoYD1M1DQ8MgbBBmRiASb7joHdRRRuwKKrOe8yBmCqwHKqnPcCSLo8g8cEHKjs0800fC0DFI3LSp6eTfQjgsw8AuF8eB5ZMpWAVGtpFRqpWSTIZKuOUhUENlfAVQANI0FpMY7uZJPUj24/DZhkjKVhXHErIbjDBiqUQS3nk0L1N1jf7fcPFBstv2Ia/GYgEBLJJLkYFQ1NxzXHjSibbJHeLBgSy5Mvc6+CVyFRoGAa2I7X82DrPiDY/wsyII5FZUOT5G2PNDgUhRGUEDn6862nFRVIE8dwrr25iVI5BGwf8KSVCmA5DRlQW5xKrSsooA+55C3cTKk8aMzosRxZkbvViS0rA15VmK8DkRjXXQukrLuNuMi3Kvl5XGNe5SCMvnVUHtXjWtltLkVcmeR2ckEcGkLEE5d7B1XHjzfngavpTUHdCyTk7C+oSYRZlEdKEaqwbJQbbNCGFHFK98cqGmvTJWi3LelNHHGUkEiRqWWNQiyylchXpEqO6zytV4qmbhmztuPSoU9mypJrkVXFY/oPHh9s2PqBiEaOOJ56j9PhXjzKm/mZTS4t+WPxR52pKLVRVDwbk7ZDt9z6m8R5hn6gNkLw0sgIEjAnvNOG9i1AcHRu9LCKFSyvhGHDkXUbdvgjjlWpRfnkjwBR1JnjaCS3W1YkjFjS/iU0g7GCA+aFr4PFm7LdwyHdOUKQpCWEauTiz5IkIYqcVJIBIq8BYIvUJWGDTdeQKPqZC2yBkZ5FIwjAWV0Xuyq/JF2OQK9zrIpGMdwsjy5qwqKse4Dz6dLbkgWRwb4JIEHSzI0QCqSgaRmvCs/TpgMgb/Dw4otdlRYvR0MLQzOqUU7mB4A5ziT5+00Hb5uOTfm9M8CJJp2FdH6iTvvTkYMxcDPkWWpTdMGHJBWjd1q09X3wVU4BF3Ry+QGkVvm44eyQL48aofQZfU6mjysopnlLeEGAaayAe1Rjdc1QFaum/iLz/iYsywIpYYm2ZmcscRichi3HBux7HXR6fRepJRic+rqrTi2+CHb7yBlknSGEOGjRioWnckl0y9MYlrHnEGuMTwYBJs1cjBQ3qOnpxyqssZFjgqykg0RVE80wHuUnS4sWBQdwAYC6YLVX9QK4+mhZvhbbMb9Ojd8O45+vDedeg/hur5X/fY4f/R0vD/H+zsdB2n8MqlGJeRO5JSQGrEBo/WLIB8tk0KscDkkbJHftMgdO1UJUxAHuyTKMqW7iRWVlvm+o7fDsQVVIYorZhC7Ylv5jRsnk83fJ+uoofheONSA8hDckMVIujz8v3v+n0sFH8O1fC/kePxHSXDZPtemR+hHGZGAdmtW8vJyQGbBfUClTiDXF8EAa5g+H5Iish3jGRZXMZdUOLgqkiP+JbKQQKSvP1JGotp8O4Mv/wAiZwpBxdrU+ODVErQqiaon66edXVZlK2y3K0hKt3d3lDkpBW1Uih7DSP4drJfp/I8fiGk3+r8CSDpmSzhhC80rOLJwj9PnsURsQFsEglhwa4I1INqZduqYhJY3ctiJcZFkUrI5DoMpTi3y3QYmqJ1Ns9jIiLGZRQVvlQYlryDY/lOXJo0fp4qJtruGhNlGdQFU+wClSinFQQoK/Uk39qM36LVX+DKr1ulzvX8E3xLsJWaOWNIpFJje7wLPaqRID5sqI/via5PPLdHlk3SyM5hGLMpAQk0R2rywaw3d54sVzzztJZ1LGSCJyVGJWRkUPVElBwynk+1cfroqVyVSsmtLdCTiHLC+bN0CaNeODdnU36PU/a/4GXrIfuQm2HTrXCSCUD55CA5PzdguzmxHNZcf00Ft9mUBwj3CU7LbxRX3tipNhZKojmyASKJrTv8AiiYijRNyaCmMMoWzxQGPIo/a/tem/wDErOtq+KqjWXullyJVytKVxIGQ9wV96OoPQkrw19UP1VLhoq0U3orGyIjKvm7IfiyzBTyxUXkbr28ak6/Cu9RBA0duEDxrKva1hmKxyOGKLkR7WQfHnQXVYp9ssa+m6SS2zIw5YBn9MWLsnvIBI96sc6nh6pHAU9WF0kx7sVjCk3xTC7NWTfNjyfGoK4rgdMcz9LgjgjSKbBdvI2UcrKpllq8mZW5bEcUTxx4ABWdD3EwA9NnUyTc8qWkjbM0vaxDjFiQeBjfFkaD6tP6qkKjCNznZJwLd3dRNFqUi/PafpovqvWoY+nbX0dsU3CAEv6dRDEY+oFf5ybDWAQG+b7tHPI++uOx6l/6d/Eke6gcgsJRQKyGzgsaohDUAysFL2Pdzq1yS2e0Iw+t+/wBPl18+fCO33Jgk3EcYdlBKRnIiUO/eQoN4Eqcl8NRrkAj2zpe93fpKZYtuXIu45ziQfFBo7HFe5/XTquCMk+fJ4J8MdVj/AIXfwS0C+BiHIJezERV8ghuQTxZPtpeqGONVMbiNcrfHt9RiATmBTfKFq+DxrNZoXkqv02S7a/XDOwAWN1piwAbFlHyc2S1G/IyvXG224JMqGjt2iYljTv5dyrY/MDyDVBTZPFnNZpmHTVqn8wbpcPqTg0UiRnlNUzBF5x7j7CgSxrzZ0yXbxYeunDqLTEItguO9kFYVTIAoJJVjdVres0rYYpIYdWtdvEko9OVoJZIk7SXhljYLeAJSS40emoFW/mGq3toiyukjC1jXDzQSQmRms1iCvbdG/UUe+s1mmqhYtyZNJL62cjSFnLIRyQwsMMAxFhFA5a/GIA1x1Dd+o/agVAvyqpKgjmRgPC2RZxoUAPbWazQCMOk7DJdyWN+qoRfymR2UbmgaNfIL8JRBPtqP4a3cyLM4iWWBBciOFIxelYgHy2K1+g+us1mj3BeLOpdyajaKFfSgObo5IjYq5EbuxI9Ru70qHP4ZBu9DdY3RO4meIs8bKY/UHi2F9zAYk+f1A1rWa1CqVjPrceDJGsoaMsIczF6bmM4jI4t3x9zCiQ3t4OuOudbwdTFDDtWdSjekArhclNlQPwWIquSaJsnWtZovmhmtqtBvSPhn+HA3O5aAxY2AwZ5MziFBVSMTbEFrYDA8XzoXfTn1lMcZWM0I1JByQOyHF3sOeQbPF37DnNZpHyUS9oX8PdPEE0sk6ZhID6i2i8TMgILf5asEZrHjiq8jVgVV9afEswV1TJjy3pxol/Y0OR9b1ms16Xw/+6vueV65/wBJ/Y6La2XPvrNZr6JHgvgxZiDfuPGuktiB9dZrNOkTbJZF54FDWpP7VrNZpuwq5IJJhXg3ruGTgk3X0vz/ANtZrNTZZPPBz65PHv8AU6kgBIJ+n/n76zWa10ZK2cSxZWCSD7MDzWu9i5jcV8osMAeCpFe/F/rrNZoamnHUg1LwGGpLTmtvkB+L9hGIxMMh/lBpInIX5SsbleV8MyeDWV//AGEijptjKkkjySEIGJIid0D84qz3UeYHnn9ONZrNfHyj7j6mGcEG2mkDRy8MIqVQfGIYtiQtZAljdnmzd6fwfGQEhk9H12nVoiJyGxLNXYVALL3UQQLHH31ms0haqWPBY+mx+ohT+GCSze8bCPbsYVuyGQYRY5GrHhio8k9y/DW6kCeru1/DQIgiZsBGvygNGAHAJPcbP18azWam5OOUWj7nTP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9" name="AutoShape 12" descr="data:image/jpeg;base64,/9j/4AAQSkZJRgABAQAAAQABAAD/2wCEAAkGBhQSEBQUExMWFRUVFRgaGBgXFhoeFxoXGhkbFxoYHxgcHDIeGBkjGxgeHy8gIycpLSwvGB8yNjIqNiYtLCoBCQoKDgwOGg8PGi8kHyUsKSwpLCwsLCwqLCwsLCwsLCwsLCwsLCwsLCwsLCwpLCwsLCwsLCwsLCwpLCwsLCwsLP/AABEIAKgBLAMBIgACEQEDEQH/xAAcAAACAgMBAQAAAAAAAAAAAAAEBQMGAAECBwj/xAA/EAACAgEDAwIEBAQCCQUAAwABAgMREgAEIQUiMRNBBjJRYSNCcZEUUoGhFTNTYnKCscHR4fAHFiRD8WNzsv/EABoBAAMBAQEBAAAAAAAAAAAAAAECAwAEBQb/xAAuEQACAgEDAwIFAwUBAAAAAAAAAQIRIQMSMRNBUQQiBWFxgaEyUpEjM0LR8BX/2gAMAwEAAhEDEQA/APTxreuc9Znrus4aOtZrnPWZa1mo6rWVrnPWZ61mo6rWtc56zPRsO03WsrXOetepzrWaiUPrPU1HnrRbQwNklz1sHUGesz0KDZNnrRbUOes9TQoNkutYjUfqa0W1sgJeNby1EG1megwo7L6jMut3pZ1WckBEJzLDwa8FbF/odBtIKyHPJqJn1R91NKvP8S/kihI1+/t9ARWmfw91tR6gll/MAob2AHPtwP10LHofTtxpN1hzhXNZD3seL40x3O/DBSrAg3z7HVf6vugPOI5Py37Cufprn1E2ysHRB0Nb3Uf2yb9lP/XV19Q6qnw3F3LKObLJ4aqADEilNmlPF39tN95upAeMlGfP4RrEFwRkTwDh83nuGjCaiqZpR3O0NQ51mWqTvuvTKHCyOCIyQQmQyJEakn2pmBr3rXW867KudO5xikY0gY9qkjz47q/U0NP1UL02XO9Zqi7rdM7wh2LEfNwT2imfgEAcA8nx7aBhndUgYM4lcKAQHbkj2iLVxfg+NbqA6bPRDz9TqTbpftz7cf8ALVFl+I5gjuJWoyOF7fy5lV7a54H9ddp8R7iPNjKwKIgsoF7sAzHEggctX9NHqYB0y8bi1UsylQOSxHsOdJx1qBiAJFJJqvezqsr8S7icKsk5dWSRmX0wnaWEaDwLFpJz75fTS/a7weUK36qKhCE0Rk7HPwTin9Mh9tCOpRpadnoQW/GuaHvf7aru038rSKuZq+eB48/TToufrq6lZFxoUjrMv87fudZ/jEv87fvoQqv1P7f99Zx/4dWs5NzC/wDFpf52/fWv8Wl/nb9zobiuP+f/AE10v/nGsbcyf/Fpf9I37nWz1OX/AEjfudCmRR7/APDWerfgX/XWBuYT/icv+kb9zrP8Sl/nb9zodSx9q116TfXQNuZOOpy/6Rv31v8AxOX/AEjfvqD0T9dbCH/81jbmFL1J/d3/AHB/trn/ABGX/St/5/XUSbNjqZNl9ToWbczX+JS/6Q66/wATk/0jf21MuyX3BOpY9jfhf7aXcg3IGHUpf52/tqVeoyV8zX/TR8XS74ofsf8AkNF/4RiOSv6ENf8A/m9K5odKQqG6lPuf7f8ATU8Jmb83/D/pouRlS+5bAugoJr9DrJurqg7nUeDQHJ8kcKLPANaR6hVRkztNlLV+p/Sv+uu1Wvmka/YAeT9PGg//AHRAcR3MSRQC1ZNFQcyBz/T76HHV2MsiRgPHVEhEUEEmlXnnLIfN4rnybm5t8HRHS/cNttOr+7eavG7P0HP20t/EaV/TicLGSQ7ISS1A0ADybH19h4vRkvWpMBjzcYAPBCkAksFwojIY+/t7aE3PxNIIo4y6lpFAD+qis1i+OKDVXND5hXPhHKy+xIUdW6bIioDChdaIYXkRdnJb5u+fP9tAnee8qqMSOwg/JzlRsEefYef00/XdbgyZCTGRSkOJlyUue7vNAKxQBuKsMCK4Jd7D4fIUJKIzEQ5apHMgcmzUhrsoV/XSbmHakUs9eLRx4JGtKcxTcEWbsLXP09qPOlHWt9k1dpPd8pU+T/qk/wB6Or31b4eSIB4ZsXxJQZVkByeSe+rFj76qm7k3BYmTI/UqiK3HsH9OxRH/AB0N1A22HfD3T/w4lkQglXsGPnFiyj/678SDjKh71oqbftXGQDoS1xuoIIVgLvEG5Tx5NN/KdJl69HGKeOZyBeRxkOYYPTWAw7lWjZrjwBrn+Niz7KGMKqowZDiZD+UnGqjThRY4s9wGlu8jJVgAnGUrGvLwpffQFtM3I7R/lj9xf0I+9fOaSiOFjTkt+eVSeBxeCNR/760z2wsEfiSsSM7FIqJfGIv1GofY+44gi2hTtlWVWMgNNkpIVHAsMBwfUP619tOZk3VpVaR7I7YXA5aspSIBwv8A/b5131GdRLFZ7Yg0h7iP8pTILrzyv6aWbeQh8KIzkiA7jfaS1Ae9uEFasG0+At+8kn4TIGTENJIighpELcAlvkBHIHn9sZindxD09vBdZGND3H3oHn5j58+db3u7B27MpJ9aRmWjZPqOSoF/YgAf0Grts/8A0vdWWSWdc1s3ZCiwRWOIJAvyHF17al3PwPAkSh9zMqqAp/hYyrEWBWRzmr64sOLvTInZTQrRh1c90ccafOG+WMMxPupzZuDXgag6Oe2O3J4kkILggZsIl49uImP+8dXuH4K6TtCCYTZB5llkYEe9jLH+2nW2i2rRlYEiAWl/CRBiV5xscgi/H31qNZ5t1HdyxJmgdfqy5ChX8w8A1rafFe6of/HPIv8AypOR9dWmLqe4V8GCOxDUzHt7Sq8sq9oJewCLpGJ8Xo+DrsxsGACjVidMTwDYyo1zXIHIOqZ7Mk6fYrQQV7frraD6G9No9ov0r+mpl23+rx9a107jzRONqT7H99SfwJ+n76Zkr9f212P00NwBbHsP/K1Muy/8rRwiv8xGpPTUef7/APc6G4NC70K12Nmx8D99MA4Hj+2tGcD/AL624NAqdNPvWpl2QHvrZ3A+v7DWhuSTwvH1P/TQsOCRNsPf/wA+mpPSXXHqhjV1XJUcfUDzzXB/bUsZA0ljGomU8BTwffRMUxU8Af11rbRlrth54oHx/wBdMdp0cH8xqz7f1vStlYxb4AN51JwjNkRSk8ceBf2+n11Xd98VIAxRizGscqAJ4sgfMfNfqPvzY/i7py/w2I/nQtzziDzx7nmxfuBqjHpLKmDyI8lIzY2AqsoJcXf5QBX0x45NRlPODu0tGNXIi3HUZJGBDHLAjj2UAkg15N354HnU0m4yA9OIytHTSIfAUBD2kn2Yn7gHz41xt9iwZC1sFyzVrLKoJS29zYxb2r9edA9b6qPT9NFDEf5jAWKPgAkVwoy/ViB7abS097t8Lkrq6iglGKy+Bu9vI8e277QqWN4pxkTTElT2lQB51Jt+ott1WqHpgBmkNhghAON3QyrgAVR+1J+lbv0FpoFFtTKXtWS6Vr/LICx55uvqNM32LAZmUIj0CrPdLYtMFFg4k3S/YnSyneFwNGGblyWBJi7gzuIs1KNx4s8eeDYy82RXkaA+It3DEsTRiKR45UlpiK5UhEq8rqieOOONB7qHBg24f1UclVMYGRZQxTOMXQAUm65HkeRrvq/RYVRV26uVWNuOW7gitWQ/lZxkPfyfB0kngLirqw7oHWQcJvSFygk93B9P1LaNWNfmxs1yovTodXikhkdnEhvBVCmwWtVIWuQzWQxFfpzrzxNvPFucZSqQnPC5F9MlUVXAdgvulkcAYjzwdPU6Tutqcty6SpKAkeMb130wX8MYggISC3F0L0sXboVpVZdd103bNkWxOBGTOeA2NA2eMq8j78+dRbTpykI6qrKQC3cCwLXlRHvyPFDg6856A8IkMMhLKwUj1PZiMglnzVceaP8ATV66Jto0nQKwB5NBvYX9+RZ8aarQltCL4j6QnLRgurMRiEKspBORNDkXzf0x/XVe3XTJArExlsPygH1PNAVVjm7B+l/S/VfiPZJLEuURmCMJAqsAS6kY8/Xmx7duhN/08SUscBUqxt+0Hniw93Xk/wBRxpZKsjrJ5DuZWdGADq5awe0eLHJvz8v99GtuDKg9WMFlrJ+TkzEAeAcB54HkD60NXLr3wdizEeo/vmqgUPuAbc/UgA6UD4aVwKkWzVUwNEGzYqwKBN1rOUkakKR1ASbpIpNtIgy9NXKtIlMTVA2RZoHjj9ORdfQ28s0SbZdxAWdTnC0ixUp9RkZcgqsfB7SeaOq1telHNXTck+m/ivcc8XxX3+/jTX4Y3A2USoxWZxLI7yF1B7gAFv6AVx/q6MWJK2WqbpMwkdk9Nkw7FYMXLBfDNkKBP2Ogx1TcRtT7L8ygGOQH5uLplFAHzzrW6+PUWPIgJxdZqeAa/Kftx4/XVa6r8ZTfwzzq0Yj8gE2zEyIlYKbQGye7kBW8jnVExKLfu+vRqAJc4siVyZLCnBnuwSAAqk8/TS/dpuVkpFSRSwonKPisibOV8fQeSB9aR/BPxIN5OqyQsPVuiguH8MFqYs1hyCfAqgBr1E6zb7BVd0UaPcTlmB28hxCm0dGQk5DEFipJGPPHuNO4vhrNQzyzIxAJVWUBftQHtpyYV44HB+mqr1j4tmg3EkbCJFBHpl+WdCikvw4oZ5rRH5b99NbaE25YjMwP5v2Ouowfqf3/AO+u02g+p1J6Z9gdXPKo3HCPcgakX0x5cGz9H4/YajG1vz/x1PHtvYDn99axkSwrB25P5v2YHjz7ke49tbk9JOfTXEmhkXs/fyNRQuAa9Mv/AL1f8tE76JJACY1Rqq1bnjxfHOptlVlYOoeowgikBI/1aH6nuPGgNwXkPexq+F9h+wA1NBGFUDk0PNCz9zXF66L631M8qmDLAB7f21jCh513/Fgsy5C1xse4y+X99Y0YJB54v9KPm/2/to2I0RKx/XUsTtfGpodoxIuh3G+DyOaH6+D/AEOiIZFjVhYaRb4vnwXAr2OP20rkkVhoykF7PasR3MaYciz4+p+2hd78WGIyn02kCggYcm0ieZrHAFhQAbqyB71qp/EPxDLnIUfAY4cA5BopmHHI7csrNj8gvuF8R9ZznWdQzYRkypQVSPx0XFiQrGnRTZ4pOdRc7PRhoqKHsfV1LSrMyhHACE85PWJGC8gZKDRqy3Gqxv8AbAOsmK04xLBu4lA0TBlN5JSrV2T47SNID1OJZVaN5W26SgiF4lcoFPcUnkk9UOcWa+AMjxWh9x1hpS04UpGTimTH1aByJIHaoLm/N8WBxpNrb5LRlFYLT8M7YEzSRljLOJFdWshsgXUeT3DwScapq86i6dINwJVJCYSxoKFM7G+wBe7tUk3XGZrxpZ6LwDEgUwHg8AMHBkkH53ZgW8BRwKqxqTpu33ErSKWyzEZDiyplVGcs4uwAGBBHHK8k86Ltu2Uwlxz+CN+mZVzShsVy7i3qfnI8AcAggm/W+miR0thHEyP6kfqiORcLbKQBVPiqBDZck2fA131/4Y3EEIznhYjwkUb5KwQ4qH4NdoX6DLwebTwTNGDHGzAsGaQnub2fxxXK2PJ81lofVFJxiq2yvzhjBOsSRoY3i5YoQceAoNI2dcEEk+3zkX5OmfR+vOIyodGzGbBRYyZWUlSo8UIi3dxbV5pVPT0YKTkVRWNCzi8ZAkb/AFfOKlQODlRuiO9rLE7qjYkAWvLKvFLQxOI7R4rjitK5pEmk78B8vTzv4kaay0Em4Y80DE0ocAYijz2L55H30/2iRwNBtm9IIUPOUvrGY40Q9GPEkntAr9KrSDp3UYlcAxRrCqkExRWrElZArY/5ZBAIY2DyTV6n6pIWYNI8SsncFBQhhHk1lzRRfAzF0L+h0YZW6/sTks0l9y2QfD01IwjVQoqWNmuQMaYEMrY0FNEff7DVe3fTt4cQFMbqMWPaQWCg5AZd0ZPA8HtP1BOT/GssPqHbSoxd8mz7rxiwBX/WIiXiwOH9/MvwR8fHc22+VQzv6alExVQFRwWtr7vU8/Sv11RxQm9qrOOn9N3+3libONkYrmMzlRVQz8ikxYZBRd0eedHx7o7zcSLUsEoRlSVouMVYgMrFaosVOJHP3AOrtuNtHRBFcUD/AGFfeyK1VOh9K/gIu9jIzNEAjOcY1oGUqCaCqWIsV4Ue3Kbc4KKSabfImmnaHcXOyzN6YQrCmKqWOLE/ijvOZqvlBHmtNukRxfg4rIkjumJkIza1f1CwBrwhb/f+ngWfouzO9km/jJYzEQf83sVitt3EH8pUVY8nydQ9c+KfRlRoQrKA5DjEh2urZlGYYAlOasH6WdIlV7mByvgYfE/pbeAGeQRZmlwUEMWNkBOCW9z+hOvK54c5bjlJFcXaknx4uh7f99WCTrn8SdrBk0ywmNRGzqDI6Kq5B2qiSDyTzlqvQdOka5YxG699wMSSUzeuCKxCEe55vjQw+APJYI+noI1tiWAo0gAseADZ/c6FPREYkEsC30Pn9vHJ86D3/VnYG6X/AGCCAAOPH09h9tQ9I6s0YExlBGJAUk52bNkVXHH99LkGCwxbGbaRyRQP6Ydy7c4vdKpAf8opKsUeTR0w+Bet7oNHJJuHeF1ZysickAcAOSAGY40Ca83WlMXxGJIWBW2YKquG8FjjyPJq7ONa5XfPCtxvWC9qnjwOAftwBzxprBSZ630br/8AEyNgn4a5DO1YFlYqQCprmuP0OmkuyRzbIrH6lQT/AH14x0z4xZFSJZ3GCgVdWAPm+/1/rpjuf/ULfIcYsZFr5nxu/fyQf7adaqF2lkRTrpiF8n+mhdl8RPLGrxKqK6gjsphfsfuPGsWE+WOuqzymicbxfZcv1/7aPfqbkARqsX1Nc/0FV+96XgAeK1HHugzOlm0xvg13CwR9R5H9DofUaLaNb53RbQeo+a3ZrtLDM8e+N0PrWpX3IAJ8Ackn2A8knWpGABJPABJ/QcnWlcMvFMGH1sEH/iNYxqfdYLk142Lr2sgWfsLsn6aW9d3xwVUPD3bh1AVQVWTk+4RmPj8uiN1ljHgbT1Aj13ELRQ1Rvtar9xX20N0rpJdcZSykGUEAgq4kAbMEDsIcmrAPHjkaVyLQh3DpOkmRTzTHEZAUaDA0f6X++nKdMUowdqUjGxZ5bt8VzydAdT352sMbUCPWhjZmulRnCsx+vHv7XftqrDrU8kMzQRBwjrgLLd08gmBBschlUCyB3i6qyjkdGnoXyHzT7hY5TGVcxbqoiXoFXhCcjkkLLIbBB8E/TUHTmlUuoYTToWd3LIcCoVAoQlSB6c5b/dFnmtRdOjlj2k8U/YryRIkfBYAiM5JjRYeLAPs3gjQHT94E3jCZgkKqCeQSzSbeNCcBeBpx5+vAvwp11SYftFkaRYSYyFk3GS2rXHKySqxIFEF45VoeAV+41Nuumw7dM2IgEkckHaQDi5APaSo7WGV88XojbfG8EUasE/GCJE9lRkkbNh3FgoJyJAJABaiR5K7fdH/i/UZD6hYGVVZpBaSDJSikFEJwuuO6x7HQajy1kyTbKn1CKSCVl/h2oeFLoRQGRc+ymvr48+DoAdXcl5fSjdTlIVMoDKgUMBRWyMSAKuyrV4Oj9wsksrq1qVFsK/OmBwVUB7balJBAo34vXG8gWR2yXOmxkBAuwo5LDi2YO3B+nFadSN0reCfpOxkzUzGJU4kdvUJHpu1NZw7GUd3PsQfY6ZpvdsriTbGRGVwsIc2tFsG7o7BHpgAZcg2OPGk525uEkWFvsAt+blbGNVrEl2pauybJFASbaaL8FZS4RRHGpyHaMlXL5eALYVzdqdK7aG09unJOQDud80m9BcBzmFoEFGsgAWSBiTQs1X9NN/SC+ukZV2OdJahiloF+WiT3MR7UAOa0qnhj20skkczPJtnZ0VomCu0UmPnwyhuDj99Ptr/6rPNtJVmgHqlGUYFgCxzU8UcSKFcm78jSw05JHV631UNWacPAJ/iMUm4U4EFlUZDIIWMjqvN2qqfAHFA83pLueqNj2k0z/h2gyGLANkxBL2jEAgg2DfNab7DYRNGHMuSh6sIwuvSLAdh7yXontN1wfebZ9MO6MKw4k5YRiRbCssPrHkLweLGRN3fHJ0O+TiK/N1YF5vxWxKgqrKaaTnziK7QBVg3fnjR3SN8Wj9SzmTjS2EFHuQgKeDHjYBPzACrJFzb4J2W0hD7vbszmJmOEsgJdcbQKZAuRJ9uONdSfBKTuDt849qSEApi6MpcyMQ1mmyAsHjEfpp6VUjRk07fAjWOFAuSMQRiWsFWXJCuSNQADSsxa+Bfmq0z6K6lZY5EU2E/GxXIMFMjkgg+a9MccYgcedLd506dGo16eMiqO0jtYQIWNUmagNdcWASC2m3UumJHtTLHTeiuGamRVLg3eD2ZKNuWBtjzQA0sU+Cs3GsZHvwt1YOJBJK1wenSuxA4SOQ815BKobHmMn3J0l631R0SMNIw3A255BZ6xaR3a8QMHCgZGuCboA6D2MsX4PcI1jnWR3JUjEUkUbOxBWMBODYs2fc6L6z0KVix4CCFRnlG2WaIHk/8A5CAhYfdv66z4onyyq7naGS4lQBpvT5DCyy2oUm/Jri+fb31AkjplEtPk/hCwINefHsLF8Hz9tWmHaFuobSJz6bTGRo1QFXjj9OULYPK2ic/cEe2g22rKQ6PEyhmZh5dI8QaFLQLWzMTbfKCOdIos21CjZdPUZSq3KNZWqxAkeiT+a8bGPi+dHRbVGWMqXJl8L8pXH8M5kfdCPHkH66j6RvjHCzo8YWRochJ8+JYOVC0aQmyTx+hvTPf9WikneTcOkMjoCgZ6C2BVUBlS+3Fk6bamgJ1yJtz0VQ+WLBak5BDHJVJAoXQ+Uk14NDm6StgxBCYHFQ1tkPUru4Hy2bNNzyPGnu3M00jpEnrDkMQoZSCMvJ4YnzV2a8EaGUyRMXl283IKC4S0Q59saxNjmvp+wg8ZRpU+CpQ9SIla3IX2H3J+/ihr0Dp8oGwkidFZpSjBjIRQA4BFUTTH3I7h9NVH/wBoktykZB9/UcH9KP8A1026rIR3t2UVFA5DiiTZN3QBrxwBrTkuYiJMhfYytkyJGyJ5F2QKFCuP/PbXWy2HU5wz7fZsY8iAQkZFjg0ZBZH6Ei7970J0lX9WUqWIe6LEg0fHvxxr2D4f6nHBtoo1kelUfQ19R41ya+u9FWo2V0nK/a6NQQBRSih9tc73demmdFgGXKvIUkKW/wB28j9gda6XI/op6wqXEZ1RGQ8kH6e/jRLNftr1rPF7mWNRk91+5Fft/wDupEgvzoiPaj2s/wDD9tKFIWbsuXjTEtHKWSQgWEtGZSa/KcSv6sv1002HRvTRVzJCqFFkk0BQsnm69yb0SNuv0Gku628pn3aAyAPt0eJsSYwxLK6eMbOK8E8Bj4uyC8YqsnUfQD6LWfxfUjLMPMgidVV7AAzaJQW482PAFWKRo0jaQmlUFjwfAFnirJr2A1WJN8Y22UskqLhC38SGfHj0siQnuSyXj7BSR41V+ufHDPI0sJlSCTbKzWFrFlHgWGDh3C2GI5aufCnVGLYy+Netod2kaXxE6A5j0z6iKUYAeTmyfMPC2OL0n+DviFFkWJw0pzPqYl1yxvFaJCZAgAZEGkJu24T9Xm9ZtqfT9IvtWQAsFcTJlHFkZAClMqFSWr2Hitbn6NI8O5waNDDIHY5sZCuHpSsGUlsFZSW8iyTdVal6pUGbrrrb2KYsoilR45qYFhUivEqKx/IAUJJyBZbx5ICHedRkWZg7ktjeQILepTFOCKK5gMaAsi7vnUhT0jMzELUDiP1Q47ezFY6Fepmh+QkVldUdddZRo5FvuCfNkSRLEFr1fxK8hfHHlqsFSRT3WuBk0o/Mzbz1HIwjtlVc1VWR1LteAAr8MuxITg8VZ1YOn/EboSVeRSpCo4BNxmTJqWrdQ1D/AHQKpq1UJdw4zU4liM3BQePw3plbsKqysQKK8tiFB5Z9PkJDSPkWwc3HRN4t6eZemkfIljbse7trwC8BXuwWDrPSz/Hum22ob1GJZ1rLFir5AepWGZyPtf01L8L/AA+snqmWRgYPRzCkBs8EtjSmzbNyTZKkke+q6vW5YgQrGP0oiqqDUoDDJFIFAMvoqSVskHg2ObbD1fdepP8Aw6tNCLLUCxkIABKNd3jkL92APubMavIs/asB3XtjAJlhykWX0gy4oXdTK6xZX8qq2A8/Q+5APkvU5n9QKiyFVN0DTWhAJy57sqN+3HA516b8X9PlZ4p1FsFGaLVn0Czx2GUH5mDFfluMc3zqqfF3w9LuI7hVXG3GUvdyWkPzKoNdqim4BpAea4MX2FnwmKJeiuV9T8QXC7HvuR2CNK134BKmx54PGhtk3B9RJBkKIWrC2AGGRrI4P5+/sdQs+7iQxpNlEwaMsh/DoqS4tlDBcWJJqq9+Nc9I+JHhVYmClAaBxBZRbMKNiwGkc8/zn24074JxlUrGPTN086MqcHKBVDX6ad5BZ2IpVOCWzWTVEnwbF8N/EkcE0Qdcyh9QyKWpWZBC0oWPiUsGK4jwEFZG9Vb4f6gzMIZZWSIuC6gnE4AlSQBbKDdj73550w6P1l52ZSMUaNsmIY0a7Bjl3U35j8wNHk8o1WSikpYZ7Xvkg3xUeorNt5gOLwMnBMZPIY9oteSOLA0D0zrboJLhDom5SIPTMXZ2HeAOKOZxcCj22RyR5p03dBZ7iZizOxshAnrrI8tCzQDAIC8bCgvuLOitv8Qgu5bAhJ/VUSAAGcJ8pPCRuokrkVYNCxwg+3sy8ybs/wAdCcysSybhGOR5czLuMaAo8Ko8jHE/prnqI28kqQo7VMrSsJCTSxth2gg9xYEUK4LEcAjVTj3AZMXixkO3LmRhciupjODWAz4DgVxcrXRFnmHf97bpQ0W4jkqKgCJAMm9Jq4h7COOB+JRBsHTKnyJtayh3/wCnkG2bayvuWS5JJSVJqMRx/hkUTTiwxyq6Kg+Bq/8ATo4/4YCB8kC9pBLUCMgODY4I4sHnXms3WjJstjCXSJZUHqNlGHMzcucSKHcxoe5YkihqxfC8kxhlWKmhfPBmKmgYkSIqq45IMKIyWyW54Fo6WQ7Wyv8Aw503cPM27khIsSCIvMQ+BXLMee3uKnwafi71Inw4rg1IYpppWjWMsuILLnI6j8i/mx4N+RZ1YW+G551haaOFJAHWQWGRFLGii4m3KKoyJtQ8lHnS3qHRpEG32rwxS7eFo7L2fWW7d3HPNjIgAksa8aW48Io3KTtiLc/BaySkLNDHIqk/w54d8LS1Jk7eFs9oAsDjSjqm1WSWRD8ykdp+pNcMPp4u64OrbL13c7qKPe9Pizji3EpxoKX/AA2jFlmAESg0eLtAa1fJkh3O19aVBXpljwMlxBsBhdEG/BrTtWQPGJNq0FvG4j9PuFOMhgMSavuNg+x4OrB0vf7ncuI19KVQKYOny2Ls0PPvq19K+HpYURpVWRCciMjSZ9xLLib5PLDwNFQ/DEaGOYIcgxPabA5Iv61Q8eNLWDWU5Pg3cAlWRHW/mBpq/Q/8NI5unIGCgkOxVxmeCoAKsB7CqHj7eeNeo9S2ySxyCJ2DtS9rV5IBPJo0CTQ+/vrzv462bOzvH2x2YgxvjABvp4yFUDyV+ulkqyg3YQ3w6VQOSoJFgCgCPY3oKuBbYmjwWA8Ej6/bQnRdg27VL9VSkeC3mvcS1sGUUQt/Kf5vfU8G43aAqXmSiaUJlQ9ucPNckfUnWjHuxWy7xrfvotEGounSRyIrobUj+o+xBFqw9wRY0eq66jzVExFH01J48D9tYkZPgaG6l1yLbNGJQfxA2JAGNgEhTzdsQFAANlgPOg2WhCwnpm4WeMSRsCrfuCPII9iPcaS/FnxG+xlyOPpeiS1qeHshDfgFmsAEc4HXnI61uWimEUvpIkonC5qApkJVKYfmWSMkjJQbJxrgMOufHj7mLcwsuJkYekUCkqpssr3w3KHkEkgiglHSnStOngtE/WP4np0e4OIV45Y5RJ2lpPSeMqAKY5M1nBhwOPrqizdMUtIFiEeGA5kyRVLUTZI9SlQ8fa/5dG9N6IN9t9r6EhCQrHFuVBTlpHhSQhhIXBJjDC1AJFjydKd06ruwuBxIdVBIEhAciNyrAYhuSMi3aSe0aDLQRN6yLDYhI9QzANgDX4kRjay1FrhIvK1s91+ROnTOF3Kq8io0SgyKeQGdXUSW2TENaUvnNya51Pu0YbHb4yBkZ3skxri4YkgizZBfiifJ4B4A/Stm8hkVZACkLOyNGzKcGph6a+eVUlqsWPvrZHwa3ziRIrxB7VHy+ljGQoUHEEAZMSfb1D55Jmh6wyblBgSPrO7KqH0wgQuoPaCCABfmuSSddb/ZlEeLBFKOrj0x/wDWUX1BRkoMAhBFZEp48krpRuSZJJldY7OQU1wiswvPIg4qAAR+UD20Ld2Ua0nBJWpd+KGcMBuOb0w0MilSWVm+VSuWR7+aRgQRfF8HRHSd2rko4haQoo9TJUIPqWxvlWtBeSjgWeRyLFtN/tNntA0SYyTQxsAJlZw8q0rhOUDUoIGJXtFAmxrXWPjliZikZWMxhS2N26uyOoeNWxVlFgMwu1o8nWrIq1JOKTK4+3e3AjIU5r+ICqlkGPyADGigWyD4I8HXEXUkjhkWeCyNr2DAtiGkxtQw7ARl8vA4Nn2Ih2bJJt4payWX/MDLIBFIFoBWUqQFZsiR7P4+YiT7g+pMIZGZs5IhaKHkxYAH1CpByLIbsGgSTXI1UC2y7xdflXa9NRVBEtK2WOLKyFUUkng2yrR5sE1xRqm46cYS6cySyAxkyEMsbqWjdlQjFgzE2GuwSOL0p6VuiYDODNEqPCqkG+/H8QBjygMbDEe4I57dEx/FEczi/VzVTleI7r7iWY8sSf11rafA+np6coyt57X9RH1xGiB26kGOw+Vd5JjVD3Xyhx8H/mdL5OhN6ayIcuxnIPBAUgUP5idWLqO6gaQfhu7VQCyKW4HjEG7r20u6h1BcYgiSQ40y+orU4ZxRBAsVywI84kea0252sA6WlGErkm6xV+V8kuLAtpHJECSKc5RkG/VAIXjHyAbC/XytVemLdAwPe5VaKnBTJnJTMyKIzynbRs/cjyAX0dY0/ElUM0cX8QCpag9s8YYmmoKihV7gTKCb1F0vp4EDZFzKpe4ngLRECPOjIBauwDdysCo/2jqsIbld0c+EGxQrMaLvG0W3iLESIrM8liRaoYIGIWj47vOeuoNs38SYM09ISJeKogWjkKo1ZwNsxqr5Hvrp27XcFHKj1I7YMWelDEooruMpsHlQrEvyTiDqPcbKNymRRoI4EEg4zVmV5FDMnEpLqWsZCl8CzqL9rpleVyMZdxGjHECVg57ZEqFcFDsOSAjdqmyT4JBGdaD2O8YRRembCxZhhEvJ5dlAFFwrOIihIBxY15szb9Qgk3ZfKPCI+XQoZC4K0UN2gVSCCK5UWND9I6QZ0Kx3NI7I0K2vyCXkEo1KQgZitH5iaOlk03gdXQz6ZvWEjMXVUVAqHEFnjlaNsB8wUM4KWWIpwFC0tMPhn4wO23EUcuCxSs4BXhc2Kngex9RmLCq7gQfYC73fGANGkapHSeoHGYtXZ40IZqEkbVz3Z2ee3gT4T3PpujzK7LKBEHW0LNMqMFLMe6OwCGFLbiguR0jTayG0uD29Tf8AYgiufeiD7f359tB9agDRE/mUWv8AtAeP0OlvRPiSKRJDkqrG+J7gQpoHEtVZDIce11qbdbwSA04FqwFYkgkcEWcSb55se2p221HgXbWRbsN3hE0ccaLlkz+QCSS7kAA93k+9k6S/CG+jR5toJA8BkZX/ABgXLnAuFFBsBVcAeTdtZ1ZUgUng0R4Ni7B4PbwOKPtzfA086ZMDwwXP60Lb78Dzqrl7tpNxxaCqBOPfX2JH9wb0snWHblmkZQCPB5ckHkgDmrr7abhDndflofuSf34/bUG92UUwHqKHC8j6j9ua48e9aoiB53u4USb+I2O6RQKMkchJbAfNQbuurq/H1rjSqPqLSQ7aJlWMHcqWOTAvTF2yIII+bz9SPNVq3dS9TcsySQhFmlSONDRkMYKtMxYNS2ikYjwRySTQq3UPh/19zOEIRIbxGTcsfmGd3+554GjJJDcD2FUBZlZ+LBjDHG+OQPJ/XzqbbzKgqpASbORBN0BfcCa4+uqj09WglH8RFGVJ4RlJk+xF8f1P769A2nW45EDKhrx3LRH2o+36caigsrnwbs5NrB6e5xzytcPBUi6P+sCSL9wE+lCyv1CJGRXaNDJeORonEW1Enkgc1rieIBHJOChGJayMRjy3H0HPGvIOtDdTGGCamm9NaEgPcU9R7YjtAeInigzBUu2GWrWQjHdlnpnwj1d2aTbbl19eOR1UWgkZAA3KrwWCspLAKCGHHk6i+Ofh4b7bB4GDSxMyoyEGiWCv491dBx5FEfpR4opW3G1DuwmQKFkIdZGjCEohSvqmHqVmQwJvGw56Z1CeCPqZBeM5LJDI6ktIxObFldflAGLGr/ENHhdLyX2UxV8H9CbdQOE7GBMcgMalSRTK6vVKeczYU2f3g690k7GSNfSrOgpD5CTCu/EilOUl3xWRBFeWew6h/wDMEm1SWCHdgdkbQ90lDuGRaNCS4v3o+xGrf8Z7JDshJPHCDEysBNJcYs4kMa7zR4XmyBoNsssStnnPRJ22zJJIrdkzJIWLUVEazKuApSp4+Y33EixxpR1rrLjf/wARtPSsMPTK92NY2imgrLk5UVVhq8jje9ZhFCaCh1fAIgvjH1Bxxw6VweKAF0dQwSAieSO2WMxu4NgW6uj1VEKSQf8Ac5JuzXSklLLF1I2rRZf/AH9DMjmXaNK6jwcSqSc0SxFiiL8A8aQbbbGOgsoWV4+1ispkkWYiPFirCjZ8gHnKzxRabtpd105ZmjJxxUSKVdTjaySvGyAqw9Pgo3/2fbVegQYP6gyURlaq6YKQOQT3gOwUnhCycEeNPzd/ahk49o15yG9Mkl3249MLk5QKcvTUIEVwfPlu5TyC5IaiPIY/D00kdpJ2w7gyRzJKwC3iaYsB2kspQPXcGA5oaS7TeTYtEQY45Emb0+LsrmXf8xNIFDMPrQBGmMe2PpxMxyDZDLtyzZ3aig5x7gB+w540q1OllK7waEY60+m3WLRv4hatwY4wewCNFjjcsqwMwVASC1jIAvVMReXnQTThMY42uNlaYhAAkcmDSAhSuXEUSNiWpiL50b0/qypT2qtKcBI4yIAIckH5s8VoEc2eOaGgmWVxB6MiqXTEqeIwYyUNccqAxYkmwD9uZrU6mao6NX0/Rltu+CXpPWZpAWUGhIGEhZiVkxVFHqVR5NhOOGa7A0d02MSTxxjsjENn8qo07j12Wl+XE2Aa+QAeToKXaEqVVZvSaRmmLtGLKA2+EfFE8fmHA96Ot7Do77gSCeT0pVaKJlkZKlICVbGQPl4PGVVQ9gHOd+CTYbgAwhS3pybhm+aQ20bB4xjHLiHRQBnQ+axeJpluOrvvPTjhUeskoRHdIhA4ckAP+Fziii+R70DYGlGxiYNGHchY2ZfwzgSHvLvC/Me6uD4486m2O0yaSOGMlwySxrZ4UBLYUQGYAtQN3R+oBXcrBXYN33Xpdn1Hcpt5FitlNRpG6onzCiynBAW8AAgVxwNJOt9Xn3UUrbm5ZY8ULYItXkS+IUE0FGNVxISfbVp2QU7ZZJXXlHd+xBJ+EBEM2r5RjZ9yQBdAgon2iTAO1hxMY5Fyq4wFkaiF7QxLCyGINe1AM5WwUksgvUemyRbYxtzLKNrDTkKY8F9Vh/LiAIxZJqybHI0rXdusKGGNkANsA34bkRC3NENZBLWKxyI1aN1vEidJYzGDA00wEsh4Mjmo0BFMDQJ9z9rJMXoXDHuJAAWdSFE/nJbUhEy7ivBDRilAFAAHRWpSrkZaSk8OgNyPXphLTkYshfwGQBqFgByvcaJBfkDxqTZNkc41xKRusORRYS4CsxK13O6S9vPdlyQAaI3WzcyMqp6iSqfUIIWJm9SSaNcwSA1xs5rzQXjUXUFhl2+3jhiWP1WlEchY5mSywJJAbFnYIvH1JHA0n0Gkq5AN7B+AoTFTIkSMfUpywzUtwQMTfOYPBADDnTCXdbhDEBGyXAYoVW8ikg9QOsii7dVL2eFsk1ydQdX63EHbJpFxUIuC42uJBTFlFgNZz8kSt9gOoIWO0k3FlfxlXbvkFQ2zK7EHiNAPF0MjQ8UTVIXdk3t+oBIWamUtt0Xljkxp4jNyCoLFyo59ru+NCSy5Sxicfw4lQJKQrHONVC5FeGQAooryLJsg8u5tiU2areZdIzEqD55ecXZwcmGZL+StmgdLv8UkdJ4z2MZIliydmQuJD6jmRgclGPuaA4o+SYuOb5DJSxXBGxdFn9aRwkR9IxjFsmyDRgUbZVWJO4qvIIu7Gpd/t44IY5Wj9SOTxIAo57rXAtlxg1miPvzrhoPUaQr5WLl4kEls5CAoQQzW5JL1kC58itQy9HMbQwg+pkiyO8RMhHBYKAEtfF1RJsXYFaCnQHDwBbXfpGcpVyUk0F80eQPmHjgWPOnXwt8RGLfJOqtguRCP9CMCPqCVLc88/bQP+FiRWlET4RyBBWbFLBP3YgUASf5hyNDDaqsyotBucqa8SF4BvwwyYEexBGi2qErsfTfS+px7mJZYmtT+4Pup+hGtwbZyX9QKcnJqie0cKLNflHivJOvAOm7t0fFZCtWD3NjbDHKgw5A5B/1R9NWzp3V23G7jdJHwSWFMbfxHgGsH5rALE1zzpHKuxuna5PTetQRLE0rop9FCUscKcaFfT2Gqr/hDxbGN82QumbkBSyO/cO1gQVNhGxrwD9dC9Z6285lh9LON5UW4wWkQEnJHA5BwFiv5T9Rdln6ltZUKt6qjxRTcJ54o9oNf20yyJOLhhlO3W68pKoDWCGUDG65u2Wr48H3++tRb7dRdqKuPse7kfXtPP66F+INzHFKsSMZUdQFc9pX7MaAJHjI/8tKTunHasppePav6GjY0lO6oB62rfcD299Vv4w6RCu3l3IVRJFHkhZmC5qxZBQ5ouxFDzlXvqly/EsW96Z6M83pbiJ0aJ/z5R9wZO4U2Ni7FEjVm+GviGDf7dtqWlDlCozI9RggAZ1mW1fyPPdyby86q1QsY9ysdQ6usmyj3DyF5nkaKY3RijUhqUoiubV14BJqV696sfxHvS/Snkf09wTGhT+HZlYIzYCUA3mVZgcSKJBBPnVN658NS7OHbKMXfbOZixjYM4Vg2fki1sRkeWAjv5BpEerzxqgil5x4jXFs3ZgPS9JfJBkN3fdmfmAGlLUmsYCtruXh2wdTLFJHuWbMoCpBUFWxdLEhMagNdc0QfOt734rn3SIHkeQlmjVOxh+IAotQoDseApNVya50u2CMVnjd7jaONnf1e0MrkgOWZQ95UQtmyAKJNcSdQIjk8oQzeVAUOSoBx8tIoGRZicS9+eW3yH4yND1hfTjSRRGVUoFAdmWaR5iWsyHO1KFgSaZiKXSnZloVnjdqXCwCynmw5agTZxSiRda52chZHU9tIG8HJgXTEkgc4kLRAF2ODqCWMRt+I62B8rEEsbalJDWoIC9x/n+lnW5wZvaO9vstxtw7ruhijBVgWSRlZ5EyCYJxkAWYkCrQ8g6wo7ONuu1EjHcSn1ZAyI8zWKrOqqqtsr8UTRAbpJ9XEhvQLkhowzAxqrFscmGQal5L2tHxfMkm43MqxL6zn1y0qxBSB6iWbDUAFGPzZEjEE8c6eDi1kzUrwPdj8HbhZA8sbYwIy9jI2ScoLUG/lJY/ZEAo+COpbRBIMExjIYYh8TCgkYWqlgRK5VlBsUFckkXpDD8V70EbV3c5Ni0ciq11+VieWQ+9tiQbNjQe4Mn4biIDGNV8XgFpmHaAaxYWPNNR50jafH5K1tfKb+RPLB686TFmb8UOAFohVVZJZZFWwi8pZVgRZON8Drd74Q+lFgWEEryAKoJSK8vJskG7YeL4J41NN0aXaSiJzHOkzgFQfxWQnGN8Caj7gD818LdUNCpHgscqxZwh5jlRyCjyshUWB4IDL7L48aFrsIrvOL8h2x2KSQTMv4ipKFU5CsVKyKqu1sGtnFsoVru78a2W5SKYhkctRkjGZUhzTQoyk2QlkEAg8tZPFD7Hp7vFxGkULqGEhoqzB2Z29RawVIlZcG8ZDwXGoOp7ZiJWZRapHJzioxkJKlRnTiqrHPx71esZulQVudqZNqkyEByzh1BW7XHtrhsx3GqquebLMJC8iGMo2MhXgliCB5yBAsEEMOL8gjRGz6o0W1FMGzlXI/KeY42rEMMyptcyGPBqhrIJ5hdyRoCWbmQfhRqSGYBbLp2hQTzkKI5s7bbyQynf4CY0eaKaSFpMckXvpiCR6khwX5QPUuhfggk+REJZYUijxJdS18HhixHN/7N83/TU3TJsCyZMLtgzks2ZVVLMoouQqmhxybF0LkChWZQrOWbtZO3mw2KyZZOVoeAFNe/nSWUqL7le3cLNI6+mWSwrM+V5oVEndfa2d/fu8V5d9W+ImklhEyMACS6JxiFHZgQvaqgquQ/Knn31Bvowq/hoGFBhGcmc5cBji/P8AtUSfrS0IP49TFSRnInJMGXIUlYkA2UkZ7K/rwKvVFkEXtuh3LupPxaiYYhDBeIwT0mRcUUlR2uSfqMC3NAqthvGbbGF8o2EqqXYglWkdmaw7KYipTJiLsE3Xza1tRMUjY3x7R3m7u/pvkvBaUNFdN5yBJ45yLpon3EvrPUKSepJlIBwQUBAUm3yUIWBPze2lwWW5q0dbgJBuzCIWklkDQ1atfqMBG8Ttfzg1X0f5jfDTqnR3hhhhnLxOEaT08R6eFsSoKg5PkVBp/BXtHDaVLvktZIY48omKxBo48WLSO6B4+RGUJZVYkEkjk1Wo99FLDnBm7kJyULvGWlcR1nXiolAb3oAVp6TJNtS7BA6oxDSSiV5YyrTFi+ca5dig1+GSOARiO43yNHdRd/Q3BQZmWnD+mFAZGQlRgSyquYKgHzbEnMDSr+GEMe6UoBI0vpFslXCIx3woLKYwVIPPPbZB8HEesXgeSPawWhxdlJZlxCYkgyFnCgF2NAAWSBjpaVjqToI226RVeVAxm3Kyqn4vfgiovAo1KJQVBagVJ88g66LDMduZAEkLsEcFvliUYJEMTiHBLDv9ifPsH1/p8yiIDamMq0ah2ezkVyUEAlUvhrSxRQGtEbbpMke5l24LkGYHllpiQDZINg5V9Rx+p0G8GwshvQ+jzIZmdWVkkJjGB9OyrKe2OzQlKsKIBw9stcdM7dxLNvIFmMmd+IwJKVlIYkUmClKsnleDzY0u5dtwUujwoOR4I9mNVRo+9EVwfGtP1VzKec1UgICQeSSKx5BvJua8AXqe51wS5yWLbdM20uxsi5ZVOLqlViBHI5KjFQGPCWcsTWV8GfAsmz2m1IaCU7ko8pDRysoUlggEigqiEALkaP1rVe6d0x5dvLEajEKN6ZIyLS5CUluCVBBKkKfN2CfLfY9WWOJF3cjrlC0XYbUGalNohIIA58Gslrw2mTxRXbi+5L8Kdei29fh+u0XqEPGRkECBRmWrEhB3fN49rrXqHw/1htzF6hheKzwH4JFC/PNhuKIFVrwfcbNTPJu0iKwLuDgoZUiaJXkhAjwBYmgbAI+U88jXo/wx8RxQbYgTbg+ngrRywtcRLBMQS2PDHxkWo82dUS7EZ+73Fz6xskkWmiEn6mjV+QfY++vOupdKi9V+2OTuIB9QqQB24kChfF/73nXprspJU/MBZH2Ni/64n9tVXrOy2iy1Lt0LUO4tCMvvTSK3m+SPIOiSR4MFIsqHCigSfIv7gUPBoeRXvWj9t8SttZ1mgxQqGIS+ACAPT7vmDHnj3JPGod9vFlQTGHEs7kCOZFjBUDJjFgWUG7ALi744GlrgSLYP6H/iDXNEfT66PJTc48HoXxP8aQbzp8C8zP6mLZCSL8YAY1TUeGYiy3yi6JB0kbr5VoY3CF9uJQk0ULM0fcFWQ18xuOgQFPPd918kjKtUpR5FkVY7HabRXWOjgO9qUjI2SQaB0qXdvllmbyVkYuMUbIvZJ4u7NHm+a50uClYJd1EzlWCMCUUKSxESswJlJJsUBldMAMWJ8Ea0kKOm2FpiqyWFR2IKuSZXAFtnWI8UAAaAvRjbkOmMsglp7R5GtVC2XkZRbMXNWCCTiSCb1x0d1dhjElorFlAILkuZAkar3M1DAZE/MOKAo8mqgjZbXFHWZvRLYBMyoYD1M1DQ8MgbBBmRiASb7joHdRRRuwKKrOe8yBmCqwHKqnPcCSLo8g8cEHKjs0800fC0DFI3LSp6eTfQjgsw8AuF8eB5ZMpWAVGtpFRqpWSTIZKuOUhUENlfAVQANI0FpMY7uZJPUj24/DZhkjKVhXHErIbjDBiqUQS3nk0L1N1jf7fcPFBstv2Ia/GYgEBLJJLkYFQ1NxzXHjSibbJHeLBgSy5Mvc6+CVyFRoGAa2I7X82DrPiDY/wsyII5FZUOT5G2PNDgUhRGUEDn6862nFRVIE8dwrr25iVI5BGwf8KSVCmA5DRlQW5xKrSsooA+55C3cTKk8aMzosRxZkbvViS0rA15VmK8DkRjXXQukrLuNuMi3Kvl5XGNe5SCMvnVUHtXjWtltLkVcmeR2ckEcGkLEE5d7B1XHjzfngavpTUHdCyTk7C+oSYRZlEdKEaqwbJQbbNCGFHFK98cqGmvTJWi3LelNHHGUkEiRqWWNQiyylchXpEqO6zytV4qmbhmztuPSoU9mypJrkVXFY/oPHh9s2PqBiEaOOJ56j9PhXjzKm/mZTS4t+WPxR52pKLVRVDwbk7ZDt9z6m8R5hn6gNkLw0sgIEjAnvNOG9i1AcHRu9LCKFSyvhGHDkXUbdvgjjlWpRfnkjwBR1JnjaCS3W1YkjFjS/iU0g7GCA+aFr4PFm7LdwyHdOUKQpCWEauTiz5IkIYqcVJIBIq8BYIvUJWGDTdeQKPqZC2yBkZ5FIwjAWV0Xuyq/JF2OQK9zrIpGMdwsjy5qwqKse4Dz6dLbkgWRwb4JIEHSzI0QCqSgaRmvCs/TpgMgb/Dw4otdlRYvR0MLQzOqUU7mB4A5ziT5+00Hb5uOTfm9M8CJJp2FdH6iTvvTkYMxcDPkWWpTdMGHJBWjd1q09X3wVU4BF3Ry+QGkVvm44eyQL48aofQZfU6mjysopnlLeEGAaayAe1Rjdc1QFaum/iLz/iYsywIpYYm2ZmcscRichi3HBux7HXR6fRepJRic+rqrTi2+CHb7yBlknSGEOGjRioWnckl0y9MYlrHnEGuMTwYBJs1cjBQ3qOnpxyqssZFjgqykg0RVE80wHuUnS4sWBQdwAYC6YLVX9QK4+mhZvhbbMb9Ojd8O45+vDedeg/hur5X/fY4f/R0vD/H+zsdB2n8MqlGJeRO5JSQGrEBo/WLIB8tk0KscDkkbJHftMgdO1UJUxAHuyTKMqW7iRWVlvm+o7fDsQVVIYorZhC7Ylv5jRsnk83fJ+uoofheONSA8hDckMVIujz8v3v+n0sFH8O1fC/kePxHSXDZPtemR+hHGZGAdmtW8vJyQGbBfUClTiDXF8EAa5g+H5Iish3jGRZXMZdUOLgqkiP+JbKQQKSvP1JGotp8O4Mv/wAiZwpBxdrU+ODVErQqiaon66edXVZlK2y3K0hKt3d3lDkpBW1Uih7DSP4drJfp/I8fiGk3+r8CSDpmSzhhC80rOLJwj9PnsURsQFsEglhwa4I1INqZduqYhJY3ctiJcZFkUrI5DoMpTi3y3QYmqJ1Ns9jIiLGZRQVvlQYlryDY/lOXJo0fp4qJtruGhNlGdQFU+wClSinFQQoK/Uk39qM36LVX+DKr1ulzvX8E3xLsJWaOWNIpFJje7wLPaqRID5sqI/via5PPLdHlk3SyM5hGLMpAQk0R2rywaw3d54sVzzztJZ1LGSCJyVGJWRkUPVElBwynk+1cfroqVyVSsmtLdCTiHLC+bN0CaNeODdnU36PU/a/4GXrIfuQm2HTrXCSCUD55CA5PzdguzmxHNZcf00Ft9mUBwj3CU7LbxRX3tipNhZKojmyASKJrTv8AiiYijRNyaCmMMoWzxQGPIo/a/tem/wDErOtq+KqjWXullyJVytKVxIGQ9wV96OoPQkrw19UP1VLhoq0U3orGyIjKvm7IfiyzBTyxUXkbr28ak6/Cu9RBA0duEDxrKva1hmKxyOGKLkR7WQfHnQXVYp9ssa+m6SS2zIw5YBn9MWLsnvIBI96sc6nh6pHAU9WF0kx7sVjCk3xTC7NWTfNjyfGoK4rgdMcz9LgjgjSKbBdvI2UcrKpllq8mZW5bEcUTxx4ABWdD3EwA9NnUyTc8qWkjbM0vaxDjFiQeBjfFkaD6tP6qkKjCNznZJwLd3dRNFqUi/PafpovqvWoY+nbX0dsU3CAEv6dRDEY+oFf5ybDWAQG+b7tHPI++uOx6l/6d/Eke6gcgsJRQKyGzgsaohDUAysFL2Pdzq1yS2e0Iw+t+/wBPl18+fCO33Jgk3EcYdlBKRnIiUO/eQoN4Eqcl8NRrkAj2zpe93fpKZYtuXIu45ziQfFBo7HFe5/XTquCMk+fJ4J8MdVj/AIXfwS0C+BiHIJezERV8ghuQTxZPtpeqGONVMbiNcrfHt9RiATmBTfKFq+DxrNZoXkqv02S7a/XDOwAWN1piwAbFlHyc2S1G/IyvXG224JMqGjt2iYljTv5dyrY/MDyDVBTZPFnNZpmHTVqn8wbpcPqTg0UiRnlNUzBF5x7j7CgSxrzZ0yXbxYeunDqLTEItguO9kFYVTIAoJJVjdVres0rYYpIYdWtdvEko9OVoJZIk7SXhljYLeAJSS40emoFW/mGq3toiyukjC1jXDzQSQmRms1iCvbdG/UUe+s1mmqhYtyZNJL62cjSFnLIRyQwsMMAxFhFA5a/GIA1x1Dd+o/agVAvyqpKgjmRgPC2RZxoUAPbWazQCMOk7DJdyWN+qoRfymR2UbmgaNfIL8JRBPtqP4a3cyLM4iWWBBciOFIxelYgHy2K1+g+us1mj3BeLOpdyajaKFfSgObo5IjYq5EbuxI9Ru70qHP4ZBu9DdY3RO4meIs8bKY/UHi2F9zAYk+f1A1rWa1CqVjPrceDJGsoaMsIczF6bmM4jI4t3x9zCiQ3t4OuOudbwdTFDDtWdSjekArhclNlQPwWIquSaJsnWtZovmhmtqtBvSPhn+HA3O5aAxY2AwZ5MziFBVSMTbEFrYDA8XzoXfTn1lMcZWM0I1JByQOyHF3sOeQbPF37DnNZpHyUS9oX8PdPEE0sk6ZhID6i2i8TMgILf5asEZrHjiq8jVgVV9afEswV1TJjy3pxol/Y0OR9b1ms16Xw/+6vueV65/wBJ/Y6La2XPvrNZr6JHgvgxZiDfuPGuktiB9dZrNOkTbJZF54FDWpP7VrNZpuwq5IJJhXg3ruGTgk3X0vz/ANtZrNTZZPPBz65PHv8AU6kgBIJ+n/n76zWa10ZK2cSxZWCSD7MDzWu9i5jcV8osMAeCpFe/F/rrNZoamnHUg1LwGGpLTmtvkB+L9hGIxMMh/lBpInIX5SsbleV8MyeDWV//AGEijptjKkkjySEIGJIid0D84qz3UeYHnn9ONZrNfHyj7j6mGcEG2mkDRy8MIqVQfGIYtiQtZAljdnmzd6fwfGQEhk9H12nVoiJyGxLNXYVALL3UQQLHH31ms0haqWPBY+mx+ohT+GCSze8bCPbsYVuyGQYRY5GrHhio8k9y/DW6kCeru1/DQIgiZsBGvygNGAHAJPcbP18azWam5OOUWj7nTP/Z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6" name="ZoneTexte 5"/>
          <p:cNvSpPr txBox="1"/>
          <p:nvPr/>
        </p:nvSpPr>
        <p:spPr>
          <a:xfrm>
            <a:off x="165948" y="2996952"/>
            <a:ext cx="8758678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500" dirty="0" smtClean="0"/>
              <a:t>Get to know the problem using TDD</a:t>
            </a:r>
            <a:r>
              <a:rPr lang="en-US" sz="2000" dirty="0"/>
              <a:t>	</a:t>
            </a:r>
          </a:p>
        </p:txBody>
      </p:sp>
      <p:pic>
        <p:nvPicPr>
          <p:cNvPr id="6146" name="Picture 2" descr="http://www.google.fr/url?source=imglanding&amp;ct=img&amp;q=https://cdn.tutsplus.com/net/uploads/legacy/767_testDrivenDev/tdd.png&amp;sa=X&amp;ei=8WFtVe75D4vTU5f5gegH&amp;ved=0CAkQ8wc&amp;usg=AFQjCNEb5SQalTUkQE05xuvYW-o-uVmeyw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49216" y="4005064"/>
            <a:ext cx="19050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111737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429000"/>
            <a:ext cx="9172355" cy="3429000"/>
          </a:xfrm>
          <a:prstGeom prst="rect">
            <a:avLst/>
          </a:prstGeom>
        </p:spPr>
      </p:pic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1331640" y="980728"/>
            <a:ext cx="5940152" cy="599478"/>
          </a:xfrm>
        </p:spPr>
        <p:txBody>
          <a:bodyPr/>
          <a:lstStyle/>
          <a:p>
            <a:r>
              <a:rPr lang="fr-FR" sz="3600" dirty="0" err="1" smtClean="0"/>
              <a:t>Iteration</a:t>
            </a:r>
            <a:r>
              <a:rPr lang="fr-FR" sz="3600" dirty="0" smtClean="0"/>
              <a:t> </a:t>
            </a:r>
            <a:r>
              <a:rPr lang="fr-FR" sz="3600" dirty="0"/>
              <a:t>2</a:t>
            </a:r>
            <a:endParaRPr lang="en-US" sz="2400" dirty="0"/>
          </a:p>
        </p:txBody>
      </p:sp>
      <p:sp>
        <p:nvSpPr>
          <p:cNvPr id="8" name="AutoShape 10" descr="data:image/jpeg;base64,/9j/4AAQSkZJRgABAQAAAQABAAD/2wCEAAkGBhQSEBQUExMWFRUVFRgaGBgXFhoeFxoXGhkbFxoYHxgcHDIeGBkjGxgeHy8gIycpLSwvGB8yNjIqNiYtLCoBCQoKDgwOGg8PGi8kHyUsKSwpLCwsLCwqLCwsLCwsLCwsLCwsLCwsLCwsLCwpLCwsLCwsLCwsLCwpLCwsLCwsLP/AABEIAKgBLAMBIgACEQEDEQH/xAAcAAACAgMBAQAAAAAAAAAAAAAEBQMGAAECBwj/xAA/EAACAgEDAwIEBAQCCQUAAwABAgMREgAEIQUiMRNBBjJRYSNCcZEUUoGhFTNTYnKCscHR4fAHFiRD8WNzsv/EABoBAAMBAQEBAAAAAAAAAAAAAAECAwAEBQb/xAAuEQACAgEDAwIFAwUBAAAAAAAAAQIRIQMSMRNBUQQiBWFxgaEyUpEjM0LR8BX/2gAMAwEAAhEDEQA/APTxreuc9Znrus4aOtZrnPWZa1mo6rWVrnPWZ61mo6rWtc56zPRsO03WsrXOetepzrWaiUPrPU1HnrRbQwNklz1sHUGesz0KDZNnrRbUOes9TQoNkutYjUfqa0W1sgJeNby1EG1megwo7L6jMut3pZ1WckBEJzLDwa8FbF/odBtIKyHPJqJn1R91NKvP8S/kihI1+/t9ARWmfw91tR6gll/MAob2AHPtwP10LHofTtxpN1hzhXNZD3seL40x3O/DBSrAg3z7HVf6vugPOI5Py37Cufprn1E2ysHRB0Nb3Uf2yb9lP/XV19Q6qnw3F3LKObLJ4aqADEilNmlPF39tN95upAeMlGfP4RrEFwRkTwDh83nuGjCaiqZpR3O0NQ51mWqTvuvTKHCyOCIyQQmQyJEakn2pmBr3rXW867KudO5xikY0gY9qkjz47q/U0NP1UL02XO9Zqi7rdM7wh2LEfNwT2imfgEAcA8nx7aBhndUgYM4lcKAQHbkj2iLVxfg+NbqA6bPRDz9TqTbpftz7cf8ALVFl+I5gjuJWoyOF7fy5lV7a54H9ddp8R7iPNjKwKIgsoF7sAzHEggctX9NHqYB0y8bi1UsylQOSxHsOdJx1qBiAJFJJqvezqsr8S7icKsk5dWSRmX0wnaWEaDwLFpJz75fTS/a7weUK36qKhCE0Rk7HPwTin9Mh9tCOpRpadnoQW/GuaHvf7aru038rSKuZq+eB48/TToufrq6lZFxoUjrMv87fudZ/jEv87fvoQqv1P7f99Zx/4dWs5NzC/wDFpf52/fWv8Wl/nb9zobiuP+f/AE10v/nGsbcyf/Fpf9I37nWz1OX/AEjfudCmRR7/APDWerfgX/XWBuYT/icv+kb9zrP8Sl/nb9zodSx9q116TfXQNuZOOpy/6Rv31v8AxOX/AEjfvqD0T9dbCH/81jbmFL1J/d3/AHB/trn/ABGX/St/5/XUSbNjqZNl9ToWbczX+JS/6Q66/wATk/0jf21MuyX3BOpY9jfhf7aXcg3IGHUpf52/tqVeoyV8zX/TR8XS74ofsf8AkNF/4RiOSv6ENf8A/m9K5odKQqG6lPuf7f8ATU8Jmb83/D/pouRlS+5bAugoJr9DrJurqg7nUeDQHJ8kcKLPANaR6hVRkztNlLV+p/Sv+uu1Wvmka/YAeT9PGg//AHRAcR3MSRQC1ZNFQcyBz/T76HHV2MsiRgPHVEhEUEEmlXnnLIfN4rnybm5t8HRHS/cNttOr+7eavG7P0HP20t/EaV/TicLGSQ7ISS1A0ADybH19h4vRkvWpMBjzcYAPBCkAksFwojIY+/t7aE3PxNIIo4y6lpFAD+qis1i+OKDVXND5hXPhHKy+xIUdW6bIioDChdaIYXkRdnJb5u+fP9tAnee8qqMSOwg/JzlRsEefYef00/XdbgyZCTGRSkOJlyUue7vNAKxQBuKsMCK4Jd7D4fIUJKIzEQ5apHMgcmzUhrsoV/XSbmHakUs9eLRx4JGtKcxTcEWbsLXP09qPOlHWt9k1dpPd8pU+T/qk/wB6Or31b4eSIB4ZsXxJQZVkByeSe+rFj76qm7k3BYmTI/UqiK3HsH9OxRH/AB0N1A22HfD3T/w4lkQglXsGPnFiyj/678SDjKh71oqbftXGQDoS1xuoIIVgLvEG5Tx5NN/KdJl69HGKeOZyBeRxkOYYPTWAw7lWjZrjwBrn+Niz7KGMKqowZDiZD+UnGqjThRY4s9wGlu8jJVgAnGUrGvLwpffQFtM3I7R/lj9xf0I+9fOaSiOFjTkt+eVSeBxeCNR/760z2wsEfiSsSM7FIqJfGIv1GofY+44gi2hTtlWVWMgNNkpIVHAsMBwfUP619tOZk3VpVaR7I7YXA5aspSIBwv8A/b5131GdRLFZ7Yg0h7iP8pTILrzyv6aWbeQh8KIzkiA7jfaS1Ae9uEFasG0+At+8kn4TIGTENJIighpELcAlvkBHIHn9sZindxD09vBdZGND3H3oHn5j58+db3u7B27MpJ9aRmWjZPqOSoF/YgAf0Grts/8A0vdWWSWdc1s3ZCiwRWOIJAvyHF17al3PwPAkSh9zMqqAp/hYyrEWBWRzmr64sOLvTInZTQrRh1c90ccafOG+WMMxPupzZuDXgag6Oe2O3J4kkILggZsIl49uImP+8dXuH4K6TtCCYTZB5llkYEe9jLH+2nW2i2rRlYEiAWl/CRBiV5xscgi/H31qNZ5t1HdyxJmgdfqy5ChX8w8A1rafFe6of/HPIv8AypOR9dWmLqe4V8GCOxDUzHt7Sq8sq9oJewCLpGJ8Xo+DrsxsGACjVidMTwDYyo1zXIHIOqZ7Mk6fYrQQV7frraD6G9No9ov0r+mpl23+rx9a107jzRONqT7H99SfwJ+n76Zkr9f212P00NwBbHsP/K1Muy/8rRwiv8xGpPTUef7/APc6G4NC70K12Nmx8D99MA4Hj+2tGcD/AL624NAqdNPvWpl2QHvrZ3A+v7DWhuSTwvH1P/TQsOCRNsPf/wA+mpPSXXHqhjV1XJUcfUDzzXB/bUsZA0ljGomU8BTwffRMUxU8Af11rbRlrth54oHx/wBdMdp0cH8xqz7f1vStlYxb4AN51JwjNkRSk8ceBf2+n11Xd98VIAxRizGscqAJ4sgfMfNfqPvzY/i7py/w2I/nQtzziDzx7nmxfuBqjHpLKmDyI8lIzY2AqsoJcXf5QBX0x45NRlPODu0tGNXIi3HUZJGBDHLAjj2UAkg15N354HnU0m4yA9OIytHTSIfAUBD2kn2Yn7gHz41xt9iwZC1sFyzVrLKoJS29zYxb2r9edA9b6qPT9NFDEf5jAWKPgAkVwoy/ViB7abS097t8Lkrq6iglGKy+Bu9vI8e277QqWN4pxkTTElT2lQB51Jt+ott1WqHpgBmkNhghAON3QyrgAVR+1J+lbv0FpoFFtTKXtWS6Vr/LICx55uvqNM32LAZmUIj0CrPdLYtMFFg4k3S/YnSyneFwNGGblyWBJi7gzuIs1KNx4s8eeDYy82RXkaA+It3DEsTRiKR45UlpiK5UhEq8rqieOOONB7qHBg24f1UclVMYGRZQxTOMXQAUm65HkeRrvq/RYVRV26uVWNuOW7gitWQ/lZxkPfyfB0kngLirqw7oHWQcJvSFygk93B9P1LaNWNfmxs1yovTodXikhkdnEhvBVCmwWtVIWuQzWQxFfpzrzxNvPFucZSqQnPC5F9MlUVXAdgvulkcAYjzwdPU6Tutqcty6SpKAkeMb130wX8MYggISC3F0L0sXboVpVZdd103bNkWxOBGTOeA2NA2eMq8j78+dRbTpykI6qrKQC3cCwLXlRHvyPFDg6856A8IkMMhLKwUj1PZiMglnzVceaP8ATV66Jto0nQKwB5NBvYX9+RZ8aarQltCL4j6QnLRgurMRiEKspBORNDkXzf0x/XVe3XTJArExlsPygH1PNAVVjm7B+l/S/VfiPZJLEuURmCMJAqsAS6kY8/Xmx7duhN/08SUscBUqxt+0Hniw93Xk/wBRxpZKsjrJ5DuZWdGADq5awe0eLHJvz8v99GtuDKg9WMFlrJ+TkzEAeAcB54HkD60NXLr3wdizEeo/vmqgUPuAbc/UgA6UD4aVwKkWzVUwNEGzYqwKBN1rOUkakKR1ASbpIpNtIgy9NXKtIlMTVA2RZoHjj9ORdfQ28s0SbZdxAWdTnC0ixUp9RkZcgqsfB7SeaOq1telHNXTck+m/ivcc8XxX3+/jTX4Y3A2USoxWZxLI7yF1B7gAFv6AVx/q6MWJK2WqbpMwkdk9Nkw7FYMXLBfDNkKBP2Ogx1TcRtT7L8ygGOQH5uLplFAHzzrW6+PUWPIgJxdZqeAa/Kftx4/XVa6r8ZTfwzzq0Yj8gE2zEyIlYKbQGye7kBW8jnVExKLfu+vRqAJc4siVyZLCnBnuwSAAqk8/TS/dpuVkpFSRSwonKPisibOV8fQeSB9aR/BPxIN5OqyQsPVuiguH8MFqYs1hyCfAqgBr1E6zb7BVd0UaPcTlmB28hxCm0dGQk5DEFipJGPPHuNO4vhrNQzyzIxAJVWUBftQHtpyYV44HB+mqr1j4tmg3EkbCJFBHpl+WdCikvw4oZ5rRH5b99NbaE25YjMwP5v2Ouowfqf3/AO+u02g+p1J6Z9gdXPKo3HCPcgakX0x5cGz9H4/YajG1vz/x1PHtvYDn99axkSwrB25P5v2YHjz7ke49tbk9JOfTXEmhkXs/fyNRQuAa9Mv/AL1f8tE76JJACY1Rqq1bnjxfHOptlVlYOoeowgikBI/1aH6nuPGgNwXkPexq+F9h+wA1NBGFUDk0PNCz9zXF66L631M8qmDLAB7f21jCh513/Fgsy5C1xse4y+X99Y0YJB54v9KPm/2/to2I0RKx/XUsTtfGpodoxIuh3G+DyOaH6+D/AEOiIZFjVhYaRb4vnwXAr2OP20rkkVhoykF7PasR3MaYciz4+p+2hd78WGIyn02kCggYcm0ieZrHAFhQAbqyB71qp/EPxDLnIUfAY4cA5BopmHHI7csrNj8gvuF8R9ZznWdQzYRkypQVSPx0XFiQrGnRTZ4pOdRc7PRhoqKHsfV1LSrMyhHACE85PWJGC8gZKDRqy3Gqxv8AbAOsmK04xLBu4lA0TBlN5JSrV2T47SNID1OJZVaN5W26SgiF4lcoFPcUnkk9UOcWa+AMjxWh9x1hpS04UpGTimTH1aByJIHaoLm/N8WBxpNrb5LRlFYLT8M7YEzSRljLOJFdWshsgXUeT3DwScapq86i6dINwJVJCYSxoKFM7G+wBe7tUk3XGZrxpZ6LwDEgUwHg8AMHBkkH53ZgW8BRwKqxqTpu33ErSKWyzEZDiyplVGcs4uwAGBBHHK8k86Ltu2Uwlxz+CN+mZVzShsVy7i3qfnI8AcAggm/W+miR0thHEyP6kfqiORcLbKQBVPiqBDZck2fA131/4Y3EEIznhYjwkUb5KwQ4qH4NdoX6DLwebTwTNGDHGzAsGaQnub2fxxXK2PJ81lofVFJxiq2yvzhjBOsSRoY3i5YoQceAoNI2dcEEk+3zkX5OmfR+vOIyodGzGbBRYyZWUlSo8UIi3dxbV5pVPT0YKTkVRWNCzi8ZAkb/AFfOKlQODlRuiO9rLE7qjYkAWvLKvFLQxOI7R4rjitK5pEmk78B8vTzv4kaay0Em4Y80DE0ocAYijz2L55H30/2iRwNBtm9IIUPOUvrGY40Q9GPEkntAr9KrSDp3UYlcAxRrCqkExRWrElZArY/5ZBAIY2DyTV6n6pIWYNI8SsncFBQhhHk1lzRRfAzF0L+h0YZW6/sTks0l9y2QfD01IwjVQoqWNmuQMaYEMrY0FNEff7DVe3fTt4cQFMbqMWPaQWCg5AZd0ZPA8HtP1BOT/GssPqHbSoxd8mz7rxiwBX/WIiXiwOH9/MvwR8fHc22+VQzv6alExVQFRwWtr7vU8/Sv11RxQm9qrOOn9N3+3libONkYrmMzlRVQz8ikxYZBRd0eedHx7o7zcSLUsEoRlSVouMVYgMrFaosVOJHP3AOrtuNtHRBFcUD/AGFfeyK1VOh9K/gIu9jIzNEAjOcY1oGUqCaCqWIsV4Ue3Kbc4KKSabfImmnaHcXOyzN6YQrCmKqWOLE/ijvOZqvlBHmtNukRxfg4rIkjumJkIza1f1CwBrwhb/f+ngWfouzO9km/jJYzEQf83sVitt3EH8pUVY8nydQ9c+KfRlRoQrKA5DjEh2urZlGYYAlOasH6WdIlV7mByvgYfE/pbeAGeQRZmlwUEMWNkBOCW9z+hOvK54c5bjlJFcXaknx4uh7f99WCTrn8SdrBk0ywmNRGzqDI6Kq5B2qiSDyTzlqvQdOka5YxG699wMSSUzeuCKxCEe55vjQw+APJYI+noI1tiWAo0gAseADZ/c6FPREYkEsC30Pn9vHJ86D3/VnYG6X/AGCCAAOPH09h9tQ9I6s0YExlBGJAUk52bNkVXHH99LkGCwxbGbaRyRQP6Ydy7c4vdKpAf8opKsUeTR0w+Bet7oNHJJuHeF1ZysickAcAOSAGY40Ca83WlMXxGJIWBW2YKquG8FjjyPJq7ONa5XfPCtxvWC9qnjwOAftwBzxprBSZ630br/8AEyNgn4a5DO1YFlYqQCprmuP0OmkuyRzbIrH6lQT/AH14x0z4xZFSJZ3GCgVdWAPm+/1/rpjuf/ULfIcYsZFr5nxu/fyQf7adaqF2lkRTrpiF8n+mhdl8RPLGrxKqK6gjsphfsfuPGsWE+WOuqzymicbxfZcv1/7aPfqbkARqsX1Nc/0FV+96XgAeK1HHugzOlm0xvg13CwR9R5H9DofUaLaNb53RbQeo+a3ZrtLDM8e+N0PrWpX3IAJ8Ackn2A8knWpGABJPABJ/QcnWlcMvFMGH1sEH/iNYxqfdYLk142Lr2sgWfsLsn6aW9d3xwVUPD3bh1AVQVWTk+4RmPj8uiN1ljHgbT1Aj13ELRQ1Rvtar9xX20N0rpJdcZSykGUEAgq4kAbMEDsIcmrAPHjkaVyLQh3DpOkmRTzTHEZAUaDA0f6X++nKdMUowdqUjGxZ5bt8VzydAdT352sMbUCPWhjZmulRnCsx+vHv7XftqrDrU8kMzQRBwjrgLLd08gmBBschlUCyB3i6qyjkdGnoXyHzT7hY5TGVcxbqoiXoFXhCcjkkLLIbBB8E/TUHTmlUuoYTToWd3LIcCoVAoQlSB6c5b/dFnmtRdOjlj2k8U/YryRIkfBYAiM5JjRYeLAPs3gjQHT94E3jCZgkKqCeQSzSbeNCcBeBpx5+vAvwp11SYftFkaRYSYyFk3GS2rXHKySqxIFEF45VoeAV+41Nuumw7dM2IgEkckHaQDi5APaSo7WGV88XojbfG8EUasE/GCJE9lRkkbNh3FgoJyJAJABaiR5K7fdH/i/UZD6hYGVVZpBaSDJSikFEJwuuO6x7HQajy1kyTbKn1CKSCVl/h2oeFLoRQGRc+ymvr48+DoAdXcl5fSjdTlIVMoDKgUMBRWyMSAKuyrV4Oj9wsksrq1qVFsK/OmBwVUB7balJBAo34vXG8gWR2yXOmxkBAuwo5LDi2YO3B+nFadSN0reCfpOxkzUzGJU4kdvUJHpu1NZw7GUd3PsQfY6ZpvdsriTbGRGVwsIc2tFsG7o7BHpgAZcg2OPGk525uEkWFvsAt+blbGNVrEl2pauybJFASbaaL8FZS4RRHGpyHaMlXL5eALYVzdqdK7aG09unJOQDud80m9BcBzmFoEFGsgAWSBiTQs1X9NN/SC+ukZV2OdJahiloF+WiT3MR7UAOa0qnhj20skkczPJtnZ0VomCu0UmPnwyhuDj99Ptr/6rPNtJVmgHqlGUYFgCxzU8UcSKFcm78jSw05JHV631UNWacPAJ/iMUm4U4EFlUZDIIWMjqvN2qqfAHFA83pLueqNj2k0z/h2gyGLANkxBL2jEAgg2DfNab7DYRNGHMuSh6sIwuvSLAdh7yXontN1wfebZ9MO6MKw4k5YRiRbCssPrHkLweLGRN3fHJ0O+TiK/N1YF5vxWxKgqrKaaTnziK7QBVg3fnjR3SN8Wj9SzmTjS2EFHuQgKeDHjYBPzACrJFzb4J2W0hD7vbszmJmOEsgJdcbQKZAuRJ9uONdSfBKTuDt849qSEApi6MpcyMQ1mmyAsHjEfpp6VUjRk07fAjWOFAuSMQRiWsFWXJCuSNQADSsxa+Bfmq0z6K6lZY5EU2E/GxXIMFMjkgg+a9MccYgcedLd506dGo16eMiqO0jtYQIWNUmagNdcWASC2m3UumJHtTLHTeiuGamRVLg3eD2ZKNuWBtjzQA0sU+Cs3GsZHvwt1YOJBJK1wenSuxA4SOQ815BKobHmMn3J0l631R0SMNIw3A255BZ6xaR3a8QMHCgZGuCboA6D2MsX4PcI1jnWR3JUjEUkUbOxBWMBODYs2fc6L6z0KVix4CCFRnlG2WaIHk/8A5CAhYfdv66z4onyyq7naGS4lQBpvT5DCyy2oUm/Jri+fb31AkjplEtPk/hCwINefHsLF8Hz9tWmHaFuobSJz6bTGRo1QFXjj9OULYPK2ic/cEe2g22rKQ6PEyhmZh5dI8QaFLQLWzMTbfKCOdIos21CjZdPUZSq3KNZWqxAkeiT+a8bGPi+dHRbVGWMqXJl8L8pXH8M5kfdCPHkH66j6RvjHCzo8YWRochJ8+JYOVC0aQmyTx+hvTPf9WikneTcOkMjoCgZ6C2BVUBlS+3Fk6bamgJ1yJtz0VQ+WLBak5BDHJVJAoXQ+Uk14NDm6StgxBCYHFQ1tkPUru4Hy2bNNzyPGnu3M00jpEnrDkMQoZSCMvJ4YnzV2a8EaGUyRMXl283IKC4S0Q59saxNjmvp+wg8ZRpU+CpQ9SIla3IX2H3J+/ihr0Dp8oGwkidFZpSjBjIRQA4BFUTTH3I7h9NVH/wBoktykZB9/UcH9KP8A1026rIR3t2UVFA5DiiTZN3QBrxwBrTkuYiJMhfYytkyJGyJ5F2QKFCuP/PbXWy2HU5wz7fZsY8iAQkZFjg0ZBZH6Ei7970J0lX9WUqWIe6LEg0fHvxxr2D4f6nHBtoo1kelUfQ19R41ya+u9FWo2V0nK/a6NQQBRSih9tc73demmdFgGXKvIUkKW/wB28j9gda6XI/op6wqXEZ1RGQ8kH6e/jRLNftr1rPF7mWNRk91+5Fft/wDupEgvzoiPaj2s/wDD9tKFIWbsuXjTEtHKWSQgWEtGZSa/KcSv6sv1002HRvTRVzJCqFFkk0BQsnm69yb0SNuv0Gku628pn3aAyAPt0eJsSYwxLK6eMbOK8E8Bj4uyC8YqsnUfQD6LWfxfUjLMPMgidVV7AAzaJQW482PAFWKRo0jaQmlUFjwfAFnirJr2A1WJN8Y22UskqLhC38SGfHj0siQnuSyXj7BSR41V+ufHDPI0sJlSCTbKzWFrFlHgWGDh3C2GI5aufCnVGLYy+Netod2kaXxE6A5j0z6iKUYAeTmyfMPC2OL0n+DviFFkWJw0pzPqYl1yxvFaJCZAgAZEGkJu24T9Xm9ZtqfT9IvtWQAsFcTJlHFkZAClMqFSWr2Hitbn6NI8O5waNDDIHY5sZCuHpSsGUlsFZSW8iyTdVal6pUGbrrrb2KYsoilR45qYFhUivEqKx/IAUJJyBZbx5ICHedRkWZg7ktjeQILepTFOCKK5gMaAsi7vnUhT0jMzELUDiP1Q47ezFY6Fepmh+QkVldUdddZRo5FvuCfNkSRLEFr1fxK8hfHHlqsFSRT3WuBk0o/Mzbz1HIwjtlVc1VWR1LteAAr8MuxITg8VZ1YOn/EboSVeRSpCo4BNxmTJqWrdQ1D/AHQKpq1UJdw4zU4liM3BQePw3plbsKqysQKK8tiFB5Z9PkJDSPkWwc3HRN4t6eZemkfIljbse7trwC8BXuwWDrPSz/Hum22ob1GJZ1rLFir5AepWGZyPtf01L8L/AA+snqmWRgYPRzCkBs8EtjSmzbNyTZKkke+q6vW5YgQrGP0oiqqDUoDDJFIFAMvoqSVskHg2ObbD1fdepP8Aw6tNCLLUCxkIABKNd3jkL92APubMavIs/asB3XtjAJlhykWX0gy4oXdTK6xZX8qq2A8/Q+5APkvU5n9QKiyFVN0DTWhAJy57sqN+3HA516b8X9PlZ4p1FsFGaLVn0Czx2GUH5mDFfluMc3zqqfF3w9LuI7hVXG3GUvdyWkPzKoNdqim4BpAea4MX2FnwmKJeiuV9T8QXC7HvuR2CNK134BKmx54PGhtk3B9RJBkKIWrC2AGGRrI4P5+/sdQs+7iQxpNlEwaMsh/DoqS4tlDBcWJJqq9+Nc9I+JHhVYmClAaBxBZRbMKNiwGkc8/zn24074JxlUrGPTN086MqcHKBVDX6ad5BZ2IpVOCWzWTVEnwbF8N/EkcE0Qdcyh9QyKWpWZBC0oWPiUsGK4jwEFZG9Vb4f6gzMIZZWSIuC6gnE4AlSQBbKDdj73550w6P1l52ZSMUaNsmIY0a7Bjl3U35j8wNHk8o1WSikpYZ7Xvkg3xUeorNt5gOLwMnBMZPIY9oteSOLA0D0zrboJLhDom5SIPTMXZ2HeAOKOZxcCj22RyR5p03dBZ7iZizOxshAnrrI8tCzQDAIC8bCgvuLOitv8Qgu5bAhJ/VUSAAGcJ8pPCRuokrkVYNCxwg+3sy8ybs/wAdCcysSybhGOR5czLuMaAo8Ko8jHE/prnqI28kqQo7VMrSsJCTSxth2gg9xYEUK4LEcAjVTj3AZMXixkO3LmRhciupjODWAz4DgVxcrXRFnmHf97bpQ0W4jkqKgCJAMm9Jq4h7COOB+JRBsHTKnyJtayh3/wCnkG2bayvuWS5JJSVJqMRx/hkUTTiwxyq6Kg+Bq/8ATo4/4YCB8kC9pBLUCMgODY4I4sHnXms3WjJstjCXSJZUHqNlGHMzcucSKHcxoe5YkihqxfC8kxhlWKmhfPBmKmgYkSIqq45IMKIyWyW54Fo6WQ7Wyv8Aw503cPM27khIsSCIvMQ+BXLMee3uKnwafi71Inw4rg1IYpppWjWMsuILLnI6j8i/mx4N+RZ1YW+G551haaOFJAHWQWGRFLGii4m3KKoyJtQ8lHnS3qHRpEG32rwxS7eFo7L2fWW7d3HPNjIgAksa8aW48Io3KTtiLc/BaySkLNDHIqk/w54d8LS1Jk7eFs9oAsDjSjqm1WSWRD8ykdp+pNcMPp4u64OrbL13c7qKPe9Pizji3EpxoKX/AA2jFlmAESg0eLtAa1fJkh3O19aVBXpljwMlxBsBhdEG/BrTtWQPGJNq0FvG4j9PuFOMhgMSavuNg+x4OrB0vf7ncuI19KVQKYOny2Ls0PPvq19K+HpYURpVWRCciMjSZ9xLLib5PLDwNFQ/DEaGOYIcgxPabA5Iv61Q8eNLWDWU5Pg3cAlWRHW/mBpq/Q/8NI5unIGCgkOxVxmeCoAKsB7CqHj7eeNeo9S2ySxyCJ2DtS9rV5IBPJo0CTQ+/vrzv462bOzvH2x2YgxvjABvp4yFUDyV+ulkqyg3YQ3w6VQOSoJFgCgCPY3oKuBbYmjwWA8Ej6/bQnRdg27VL9VSkeC3mvcS1sGUUQt/Kf5vfU8G43aAqXmSiaUJlQ9ucPNckfUnWjHuxWy7xrfvotEGounSRyIrobUj+o+xBFqw9wRY0eq66jzVExFH01J48D9tYkZPgaG6l1yLbNGJQfxA2JAGNgEhTzdsQFAANlgPOg2WhCwnpm4WeMSRsCrfuCPII9iPcaS/FnxG+xlyOPpeiS1qeHshDfgFmsAEc4HXnI61uWimEUvpIkonC5qApkJVKYfmWSMkjJQbJxrgMOufHj7mLcwsuJkYekUCkqpssr3w3KHkEkgiglHSnStOngtE/WP4np0e4OIV45Y5RJ2lpPSeMqAKY5M1nBhwOPrqizdMUtIFiEeGA5kyRVLUTZI9SlQ8fa/5dG9N6IN9t9r6EhCQrHFuVBTlpHhSQhhIXBJjDC1AJFjydKd06ruwuBxIdVBIEhAciNyrAYhuSMi3aSe0aDLQRN6yLDYhI9QzANgDX4kRjay1FrhIvK1s91+ROnTOF3Kq8io0SgyKeQGdXUSW2TENaUvnNya51Pu0YbHb4yBkZ3skxri4YkgizZBfiifJ4B4A/Stm8hkVZACkLOyNGzKcGph6a+eVUlqsWPvrZHwa3ziRIrxB7VHy+ljGQoUHEEAZMSfb1D55Jmh6wyblBgSPrO7KqH0wgQuoPaCCABfmuSSddb/ZlEeLBFKOrj0x/wDWUX1BRkoMAhBFZEp48krpRuSZJJldY7OQU1wiswvPIg4qAAR+UD20Ld2Ua0nBJWpd+KGcMBuOb0w0MilSWVm+VSuWR7+aRgQRfF8HRHSd2rko4haQoo9TJUIPqWxvlWtBeSjgWeRyLFtN/tNntA0SYyTQxsAJlZw8q0rhOUDUoIGJXtFAmxrXWPjliZikZWMxhS2N26uyOoeNWxVlFgMwu1o8nWrIq1JOKTK4+3e3AjIU5r+ICqlkGPyADGigWyD4I8HXEXUkjhkWeCyNr2DAtiGkxtQw7ARl8vA4Nn2Ih2bJJt4payWX/MDLIBFIFoBWUqQFZsiR7P4+YiT7g+pMIZGZs5IhaKHkxYAH1CpByLIbsGgSTXI1UC2y7xdflXa9NRVBEtK2WOLKyFUUkng2yrR5sE1xRqm46cYS6cySyAxkyEMsbqWjdlQjFgzE2GuwSOL0p6VuiYDODNEqPCqkG+/H8QBjygMbDEe4I57dEx/FEczi/VzVTleI7r7iWY8sSf11rafA+np6coyt57X9RH1xGiB26kGOw+Vd5JjVD3Xyhx8H/mdL5OhN6ayIcuxnIPBAUgUP5idWLqO6gaQfhu7VQCyKW4HjEG7r20u6h1BcYgiSQ40y+orU4ZxRBAsVywI84kea0252sA6WlGErkm6xV+V8kuLAtpHJECSKc5RkG/VAIXjHyAbC/XytVemLdAwPe5VaKnBTJnJTMyKIzynbRs/cjyAX0dY0/ElUM0cX8QCpag9s8YYmmoKihV7gTKCb1F0vp4EDZFzKpe4ngLRECPOjIBauwDdysCo/2jqsIbld0c+EGxQrMaLvG0W3iLESIrM8liRaoYIGIWj47vOeuoNs38SYM09ISJeKogWjkKo1ZwNsxqr5Hvrp27XcFHKj1I7YMWelDEooruMpsHlQrEvyTiDqPcbKNymRRoI4EEg4zVmV5FDMnEpLqWsZCl8CzqL9rpleVyMZdxGjHECVg57ZEqFcFDsOSAjdqmyT4JBGdaD2O8YRRembCxZhhEvJ5dlAFFwrOIihIBxY15szb9Qgk3ZfKPCI+XQoZC4K0UN2gVSCCK5UWND9I6QZ0Kx3NI7I0K2vyCXkEo1KQgZitH5iaOlk03gdXQz6ZvWEjMXVUVAqHEFnjlaNsB8wUM4KWWIpwFC0tMPhn4wO23EUcuCxSs4BXhc2Kngex9RmLCq7gQfYC73fGANGkapHSeoHGYtXZ40IZqEkbVz3Z2ee3gT4T3PpujzK7LKBEHW0LNMqMFLMe6OwCGFLbiguR0jTayG0uD29Tf8AYgiufeiD7f359tB9agDRE/mUWv8AtAeP0OlvRPiSKRJDkqrG+J7gQpoHEtVZDIce11qbdbwSA04FqwFYkgkcEWcSb55se2p221HgXbWRbsN3hE0ccaLlkz+QCSS7kAA93k+9k6S/CG+jR5toJA8BkZX/ABgXLnAuFFBsBVcAeTdtZ1ZUgUng0R4Ni7B4PbwOKPtzfA086ZMDwwXP60Lb78Dzqrl7tpNxxaCqBOPfX2JH9wb0snWHblmkZQCPB5ckHkgDmrr7abhDndflofuSf34/bUG92UUwHqKHC8j6j9ua48e9aoiB53u4USb+I2O6RQKMkchJbAfNQbuurq/H1rjSqPqLSQ7aJlWMHcqWOTAvTF2yIII+bz9SPNVq3dS9TcsySQhFmlSONDRkMYKtMxYNS2ikYjwRySTQq3UPh/19zOEIRIbxGTcsfmGd3+554GjJJDcD2FUBZlZ+LBjDHG+OQPJ/XzqbbzKgqpASbORBN0BfcCa4+uqj09WglH8RFGVJ4RlJk+xF8f1P769A2nW45EDKhrx3LRH2o+36caigsrnwbs5NrB6e5xzytcPBUi6P+sCSL9wE+lCyv1CJGRXaNDJeORonEW1Enkgc1rieIBHJOChGJayMRjy3H0HPGvIOtDdTGGCamm9NaEgPcU9R7YjtAeInigzBUu2GWrWQjHdlnpnwj1d2aTbbl19eOR1UWgkZAA3KrwWCspLAKCGHHk6i+Ofh4b7bB4GDSxMyoyEGiWCv491dBx5FEfpR4opW3G1DuwmQKFkIdZGjCEohSvqmHqVmQwJvGw56Z1CeCPqZBeM5LJDI6ktIxObFldflAGLGr/ENHhdLyX2UxV8H9CbdQOE7GBMcgMalSRTK6vVKeczYU2f3g690k7GSNfSrOgpD5CTCu/EilOUl3xWRBFeWew6h/wDMEm1SWCHdgdkbQ90lDuGRaNCS4v3o+xGrf8Z7JDshJPHCDEysBNJcYs4kMa7zR4XmyBoNsssStnnPRJ22zJJIrdkzJIWLUVEazKuApSp4+Y33EixxpR1rrLjf/wARtPSsMPTK92NY2imgrLk5UVVhq8jje9ZhFCaCh1fAIgvjH1Bxxw6VweKAF0dQwSAieSO2WMxu4NgW6uj1VEKSQf8Ac5JuzXSklLLF1I2rRZf/AH9DMjmXaNK6jwcSqSc0SxFiiL8A8aQbbbGOgsoWV4+1ispkkWYiPFirCjZ8gHnKzxRabtpd105ZmjJxxUSKVdTjaySvGyAqw9Pgo3/2fbVegQYP6gyURlaq6YKQOQT3gOwUnhCycEeNPzd/ahk49o15yG9Mkl3249MLk5QKcvTUIEVwfPlu5TyC5IaiPIY/D00kdpJ2w7gyRzJKwC3iaYsB2kspQPXcGA5oaS7TeTYtEQY45Emb0+LsrmXf8xNIFDMPrQBGmMe2PpxMxyDZDLtyzZ3aig5x7gB+w540q1OllK7waEY60+m3WLRv4hatwY4wewCNFjjcsqwMwVASC1jIAvVMReXnQTThMY42uNlaYhAAkcmDSAhSuXEUSNiWpiL50b0/qypT2qtKcBI4yIAIckH5s8VoEc2eOaGgmWVxB6MiqXTEqeIwYyUNccqAxYkmwD9uZrU6mao6NX0/Rltu+CXpPWZpAWUGhIGEhZiVkxVFHqVR5NhOOGa7A0d02MSTxxjsjENn8qo07j12Wl+XE2Aa+QAeToKXaEqVVZvSaRmmLtGLKA2+EfFE8fmHA96Ot7Do77gSCeT0pVaKJlkZKlICVbGQPl4PGVVQ9gHOd+CTYbgAwhS3pybhm+aQ20bB4xjHLiHRQBnQ+axeJpluOrvvPTjhUeskoRHdIhA4ckAP+Fziii+R70DYGlGxiYNGHchY2ZfwzgSHvLvC/Me6uD4486m2O0yaSOGMlwySxrZ4UBLYUQGYAtQN3R+oBXcrBXYN33Xpdn1Hcpt5FitlNRpG6onzCiynBAW8AAgVxwNJOt9Xn3UUrbm5ZY8ULYItXkS+IUE0FGNVxISfbVp2QU7ZZJXXlHd+xBJ+EBEM2r5RjZ9yQBdAgon2iTAO1hxMY5Fyq4wFkaiF7QxLCyGINe1AM5WwUksgvUemyRbYxtzLKNrDTkKY8F9Vh/LiAIxZJqybHI0rXdusKGGNkANsA34bkRC3NENZBLWKxyI1aN1vEidJYzGDA00wEsh4Mjmo0BFMDQJ9z9rJMXoXDHuJAAWdSFE/nJbUhEy7ivBDRilAFAAHRWpSrkZaSk8OgNyPXphLTkYshfwGQBqFgByvcaJBfkDxqTZNkc41xKRusORRYS4CsxK13O6S9vPdlyQAaI3WzcyMqp6iSqfUIIWJm9SSaNcwSA1xs5rzQXjUXUFhl2+3jhiWP1WlEchY5mSywJJAbFnYIvH1JHA0n0Gkq5AN7B+AoTFTIkSMfUpywzUtwQMTfOYPBADDnTCXdbhDEBGyXAYoVW8ikg9QOsii7dVL2eFsk1ydQdX63EHbJpFxUIuC42uJBTFlFgNZz8kSt9gOoIWO0k3FlfxlXbvkFQ2zK7EHiNAPF0MjQ8UTVIXdk3t+oBIWamUtt0Xljkxp4jNyCoLFyo59ru+NCSy5Sxicfw4lQJKQrHONVC5FeGQAooryLJsg8u5tiU2areZdIzEqD55ecXZwcmGZL+StmgdLv8UkdJ4z2MZIliydmQuJD6jmRgclGPuaA4o+SYuOb5DJSxXBGxdFn9aRwkR9IxjFsmyDRgUbZVWJO4qvIIu7Gpd/t44IY5Wj9SOTxIAo57rXAtlxg1miPvzrhoPUaQr5WLl4kEls5CAoQQzW5JL1kC58itQy9HMbQwg+pkiyO8RMhHBYKAEtfF1RJsXYFaCnQHDwBbXfpGcpVyUk0F80eQPmHjgWPOnXwt8RGLfJOqtguRCP9CMCPqCVLc88/bQP+FiRWlET4RyBBWbFLBP3YgUASf5hyNDDaqsyotBucqa8SF4BvwwyYEexBGi2qErsfTfS+px7mJZYmtT+4Pup+hGtwbZyX9QKcnJqie0cKLNflHivJOvAOm7t0fFZCtWD3NjbDHKgw5A5B/1R9NWzp3V23G7jdJHwSWFMbfxHgGsH5rALE1zzpHKuxuna5PTetQRLE0rop9FCUscKcaFfT2Gqr/hDxbGN82QumbkBSyO/cO1gQVNhGxrwD9dC9Z6285lh9LON5UW4wWkQEnJHA5BwFiv5T9Rdln6ltZUKt6qjxRTcJ54o9oNf20yyJOLhhlO3W68pKoDWCGUDG65u2Wr48H3++tRb7dRdqKuPse7kfXtPP66F+INzHFKsSMZUdQFc9pX7MaAJHjI/8tKTunHasppePav6GjY0lO6oB62rfcD299Vv4w6RCu3l3IVRJFHkhZmC5qxZBQ5ouxFDzlXvqly/EsW96Z6M83pbiJ0aJ/z5R9wZO4U2Ni7FEjVm+GviGDf7dtqWlDlCozI9RggAZ1mW1fyPPdyby86q1QsY9ysdQ6usmyj3DyF5nkaKY3RijUhqUoiubV14BJqV696sfxHvS/Snkf09wTGhT+HZlYIzYCUA3mVZgcSKJBBPnVN658NS7OHbKMXfbOZixjYM4Vg2fki1sRkeWAjv5BpEerzxqgil5x4jXFs3ZgPS9JfJBkN3fdmfmAGlLUmsYCtruXh2wdTLFJHuWbMoCpBUFWxdLEhMagNdc0QfOt734rn3SIHkeQlmjVOxh+IAotQoDseApNVya50u2CMVnjd7jaONnf1e0MrkgOWZQ95UQtmyAKJNcSdQIjk8oQzeVAUOSoBx8tIoGRZicS9+eW3yH4yND1hfTjSRRGVUoFAdmWaR5iWsyHO1KFgSaZiKXSnZloVnjdqXCwCynmw5agTZxSiRda52chZHU9tIG8HJgXTEkgc4kLRAF2ODqCWMRt+I62B8rEEsbalJDWoIC9x/n+lnW5wZvaO9vstxtw7ruhijBVgWSRlZ5EyCYJxkAWYkCrQ8g6wo7ONuu1EjHcSn1ZAyI8zWKrOqqqtsr8UTRAbpJ9XEhvQLkhowzAxqrFscmGQal5L2tHxfMkm43MqxL6zn1y0qxBSB6iWbDUAFGPzZEjEE8c6eDi1kzUrwPdj8HbhZA8sbYwIy9jI2ScoLUG/lJY/ZEAo+COpbRBIMExjIYYh8TCgkYWqlgRK5VlBsUFckkXpDD8V70EbV3c5Ni0ciq11+VieWQ+9tiQbNjQe4Mn4biIDGNV8XgFpmHaAaxYWPNNR50jafH5K1tfKb+RPLB686TFmb8UOAFohVVZJZZFWwi8pZVgRZON8Drd74Q+lFgWEEryAKoJSK8vJskG7YeL4J41NN0aXaSiJzHOkzgFQfxWQnGN8Caj7gD818LdUNCpHgscqxZwh5jlRyCjyshUWB4IDL7L48aFrsIrvOL8h2x2KSQTMv4ipKFU5CsVKyKqu1sGtnFsoVru78a2W5SKYhkctRkjGZUhzTQoyk2QlkEAg8tZPFD7Hp7vFxGkULqGEhoqzB2Z29RawVIlZcG8ZDwXGoOp7ZiJWZRapHJzioxkJKlRnTiqrHPx71esZulQVudqZNqkyEByzh1BW7XHtrhsx3GqquebLMJC8iGMo2MhXgliCB5yBAsEEMOL8gjRGz6o0W1FMGzlXI/KeY42rEMMyptcyGPBqhrIJ5hdyRoCWbmQfhRqSGYBbLp2hQTzkKI5s7bbyQynf4CY0eaKaSFpMckXvpiCR6khwX5QPUuhfggk+REJZYUijxJdS18HhixHN/7N83/TU3TJsCyZMLtgzks2ZVVLMoouQqmhxybF0LkChWZQrOWbtZO3mw2KyZZOVoeAFNe/nSWUqL7le3cLNI6+mWSwrM+V5oVEndfa2d/fu8V5d9W+ImklhEyMACS6JxiFHZgQvaqgquQ/Knn31Bvowq/hoGFBhGcmc5cBji/P8AtUSfrS0IP49TFSRnInJMGXIUlYkA2UkZ7K/rwKvVFkEXtuh3LupPxaiYYhDBeIwT0mRcUUlR2uSfqMC3NAqthvGbbGF8o2EqqXYglWkdmaw7KYipTJiLsE3Xza1tRMUjY3x7R3m7u/pvkvBaUNFdN5yBJ45yLpon3EvrPUKSepJlIBwQUBAUm3yUIWBPze2lwWW5q0dbgJBuzCIWklkDQ1atfqMBG8Ttfzg1X0f5jfDTqnR3hhhhnLxOEaT08R6eFsSoKg5PkVBp/BXtHDaVLvktZIY48omKxBo48WLSO6B4+RGUJZVYkEkjk1Wo99FLDnBm7kJyULvGWlcR1nXiolAb3oAVp6TJNtS7BA6oxDSSiV5YyrTFi+ca5dig1+GSOARiO43yNHdRd/Q3BQZmWnD+mFAZGQlRgSyquYKgHzbEnMDSr+GEMe6UoBI0vpFslXCIx3woLKYwVIPPPbZB8HEesXgeSPawWhxdlJZlxCYkgyFnCgF2NAAWSBjpaVjqToI226RVeVAxm3Kyqn4vfgiovAo1KJQVBagVJ88g66LDMduZAEkLsEcFvliUYJEMTiHBLDv9ifPsH1/p8yiIDamMq0ah2ezkVyUEAlUvhrSxRQGtEbbpMke5l24LkGYHllpiQDZINg5V9Rx+p0G8GwshvQ+jzIZmdWVkkJjGB9OyrKe2OzQlKsKIBw9stcdM7dxLNvIFmMmd+IwJKVlIYkUmClKsnleDzY0u5dtwUujwoOR4I9mNVRo+9EVwfGtP1VzKec1UgICQeSSKx5BvJua8AXqe51wS5yWLbdM20uxsi5ZVOLqlViBHI5KjFQGPCWcsTWV8GfAsmz2m1IaCU7ko8pDRysoUlggEigqiEALkaP1rVe6d0x5dvLEajEKN6ZIyLS5CUluCVBBKkKfN2CfLfY9WWOJF3cjrlC0XYbUGalNohIIA58Gslrw2mTxRXbi+5L8Kdei29fh+u0XqEPGRkECBRmWrEhB3fN49rrXqHw/1htzF6hheKzwH4JFC/PNhuKIFVrwfcbNTPJu0iKwLuDgoZUiaJXkhAjwBYmgbAI+U88jXo/wx8RxQbYgTbg+ngrRywtcRLBMQS2PDHxkWo82dUS7EZ+73Fz6xskkWmiEn6mjV+QfY++vOupdKi9V+2OTuIB9QqQB24kChfF/73nXprspJU/MBZH2Ni/64n9tVXrOy2iy1Lt0LUO4tCMvvTSK3m+SPIOiSR4MFIsqHCigSfIv7gUPBoeRXvWj9t8SttZ1mgxQqGIS+ACAPT7vmDHnj3JPGod9vFlQTGHEs7kCOZFjBUDJjFgWUG7ALi744GlrgSLYP6H/iDXNEfT66PJTc48HoXxP8aQbzp8C8zP6mLZCSL8YAY1TUeGYiy3yi6JB0kbr5VoY3CF9uJQk0ULM0fcFWQ18xuOgQFPPd918kjKtUpR5FkVY7HabRXWOjgO9qUjI2SQaB0qXdvllmbyVkYuMUbIvZJ4u7NHm+a50uClYJd1EzlWCMCUUKSxESswJlJJsUBldMAMWJ8Ea0kKOm2FpiqyWFR2IKuSZXAFtnWI8UAAaAvRjbkOmMsglp7R5GtVC2XkZRbMXNWCCTiSCb1x0d1dhjElorFlAILkuZAkar3M1DAZE/MOKAo8mqgjZbXFHWZvRLYBMyoYD1M1DQ8MgbBBmRiASb7joHdRRRuwKKrOe8yBmCqwHKqnPcCSLo8g8cEHKjs0800fC0DFI3LSp6eTfQjgsw8AuF8eB5ZMpWAVGtpFRqpWSTIZKuOUhUENlfAVQANI0FpMY7uZJPUj24/DZhkjKVhXHErIbjDBiqUQS3nk0L1N1jf7fcPFBstv2Ia/GYgEBLJJLkYFQ1NxzXHjSibbJHeLBgSy5Mvc6+CVyFRoGAa2I7X82DrPiDY/wsyII5FZUOT5G2PNDgUhRGUEDn6862nFRVIE8dwrr25iVI5BGwf8KSVCmA5DRlQW5xKrSsooA+55C3cTKk8aMzosRxZkbvViS0rA15VmK8DkRjXXQukrLuNuMi3Kvl5XGNe5SCMvnVUHtXjWtltLkVcmeR2ckEcGkLEE5d7B1XHjzfngavpTUHdCyTk7C+oSYRZlEdKEaqwbJQbbNCGFHFK98cqGmvTJWi3LelNHHGUkEiRqWWNQiyylchXpEqO6zytV4qmbhmztuPSoU9mypJrkVXFY/oPHh9s2PqBiEaOOJ56j9PhXjzKm/mZTS4t+WPxR52pKLVRVDwbk7ZDt9z6m8R5hn6gNkLw0sgIEjAnvNOG9i1AcHRu9LCKFSyvhGHDkXUbdvgjjlWpRfnkjwBR1JnjaCS3W1YkjFjS/iU0g7GCA+aFr4PFm7LdwyHdOUKQpCWEauTiz5IkIYqcVJIBIq8BYIvUJWGDTdeQKPqZC2yBkZ5FIwjAWV0Xuyq/JF2OQK9zrIpGMdwsjy5qwqKse4Dz6dLbkgWRwb4JIEHSzI0QCqSgaRmvCs/TpgMgb/Dw4otdlRYvR0MLQzOqUU7mB4A5ziT5+00Hb5uOTfm9M8CJJp2FdH6iTvvTkYMxcDPkWWpTdMGHJBWjd1q09X3wVU4BF3Ry+QGkVvm44eyQL48aofQZfU6mjysopnlLeEGAaayAe1Rjdc1QFaum/iLz/iYsywIpYYm2ZmcscRichi3HBux7HXR6fRepJRic+rqrTi2+CHb7yBlknSGEOGjRioWnckl0y9MYlrHnEGuMTwYBJs1cjBQ3qOnpxyqssZFjgqykg0RVE80wHuUnS4sWBQdwAYC6YLVX9QK4+mhZvhbbMb9Ojd8O45+vDedeg/hur5X/fY4f/R0vD/H+zsdB2n8MqlGJeRO5JSQGrEBo/WLIB8tk0KscDkkbJHftMgdO1UJUxAHuyTKMqW7iRWVlvm+o7fDsQVVIYorZhC7Ylv5jRsnk83fJ+uoofheONSA8hDckMVIujz8v3v+n0sFH8O1fC/kePxHSXDZPtemR+hHGZGAdmtW8vJyQGbBfUClTiDXF8EAa5g+H5Iish3jGRZXMZdUOLgqkiP+JbKQQKSvP1JGotp8O4Mv/wAiZwpBxdrU+ODVErQqiaon66edXVZlK2y3K0hKt3d3lDkpBW1Uih7DSP4drJfp/I8fiGk3+r8CSDpmSzhhC80rOLJwj9PnsURsQFsEglhwa4I1INqZduqYhJY3ctiJcZFkUrI5DoMpTi3y3QYmqJ1Ns9jIiLGZRQVvlQYlryDY/lOXJo0fp4qJtruGhNlGdQFU+wClSinFQQoK/Uk39qM36LVX+DKr1ulzvX8E3xLsJWaOWNIpFJje7wLPaqRID5sqI/via5PPLdHlk3SyM5hGLMpAQk0R2rywaw3d54sVzzztJZ1LGSCJyVGJWRkUPVElBwynk+1cfroqVyVSsmtLdCTiHLC+bN0CaNeODdnU36PU/a/4GXrIfuQm2HTrXCSCUD55CA5PzdguzmxHNZcf00Ft9mUBwj3CU7LbxRX3tipNhZKojmyASKJrTv8AiiYijRNyaCmMMoWzxQGPIo/a/tem/wDErOtq+KqjWXullyJVytKVxIGQ9wV96OoPQkrw19UP1VLhoq0U3orGyIjKvm7IfiyzBTyxUXkbr28ak6/Cu9RBA0duEDxrKva1hmKxyOGKLkR7WQfHnQXVYp9ssa+m6SS2zIw5YBn9MWLsnvIBI96sc6nh6pHAU9WF0kx7sVjCk3xTC7NWTfNjyfGoK4rgdMcz9LgjgjSKbBdvI2UcrKpllq8mZW5bEcUTxx4ABWdD3EwA9NnUyTc8qWkjbM0vaxDjFiQeBjfFkaD6tP6qkKjCNznZJwLd3dRNFqUi/PafpovqvWoY+nbX0dsU3CAEv6dRDEY+oFf5ybDWAQG+b7tHPI++uOx6l/6d/Eke6gcgsJRQKyGzgsaohDUAysFL2Pdzq1yS2e0Iw+t+/wBPl18+fCO33Jgk3EcYdlBKRnIiUO/eQoN4Eqcl8NRrkAj2zpe93fpKZYtuXIu45ziQfFBo7HFe5/XTquCMk+fJ4J8MdVj/AIXfwS0C+BiHIJezERV8ghuQTxZPtpeqGONVMbiNcrfHt9RiATmBTfKFq+DxrNZoXkqv02S7a/XDOwAWN1piwAbFlHyc2S1G/IyvXG224JMqGjt2iYljTv5dyrY/MDyDVBTZPFnNZpmHTVqn8wbpcPqTg0UiRnlNUzBF5x7j7CgSxrzZ0yXbxYeunDqLTEItguO9kFYVTIAoJJVjdVres0rYYpIYdWtdvEko9OVoJZIk7SXhljYLeAJSS40emoFW/mGq3toiyukjC1jXDzQSQmRms1iCvbdG/UUe+s1mmqhYtyZNJL62cjSFnLIRyQwsMMAxFhFA5a/GIA1x1Dd+o/agVAvyqpKgjmRgPC2RZxoUAPbWazQCMOk7DJdyWN+qoRfymR2UbmgaNfIL8JRBPtqP4a3cyLM4iWWBBciOFIxelYgHy2K1+g+us1mj3BeLOpdyajaKFfSgObo5IjYq5EbuxI9Ru70qHP4ZBu9DdY3RO4meIs8bKY/UHi2F9zAYk+f1A1rWa1CqVjPrceDJGsoaMsIczF6bmM4jI4t3x9zCiQ3t4OuOudbwdTFDDtWdSjekArhclNlQPwWIquSaJsnWtZovmhmtqtBvSPhn+HA3O5aAxY2AwZ5MziFBVSMTbEFrYDA8XzoXfTn1lMcZWM0I1JByQOyHF3sOeQbPF37DnNZpHyUS9oX8PdPEE0sk6ZhID6i2i8TMgILf5asEZrHjiq8jVgVV9afEswV1TJjy3pxol/Y0OR9b1ms16Xw/+6vueV65/wBJ/Y6La2XPvrNZr6JHgvgxZiDfuPGuktiB9dZrNOkTbJZF54FDWpP7VrNZpuwq5IJJhXg3ruGTgk3X0vz/ANtZrNTZZPPBz65PHv8AU6kgBIJ+n/n76zWa10ZK2cSxZWCSD7MDzWu9i5jcV8osMAeCpFe/F/rrNZoamnHUg1LwGGpLTmtvkB+L9hGIxMMh/lBpInIX5SsbleV8MyeDWV//AGEijptjKkkjySEIGJIid0D84qz3UeYHnn9ONZrNfHyj7j6mGcEG2mkDRy8MIqVQfGIYtiQtZAljdnmzd6fwfGQEhk9H12nVoiJyGxLNXYVALL3UQQLHH31ms0haqWPBY+mx+ohT+GCSze8bCPbsYVuyGQYRY5GrHhio8k9y/DW6kCeru1/DQIgiZsBGvygNGAHAJPcbP18azWam5OOUWj7nTP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9" name="AutoShape 12" descr="data:image/jpeg;base64,/9j/4AAQSkZJRgABAQAAAQABAAD/2wCEAAkGBhQSEBQUExMWFRUVFRgaGBgXFhoeFxoXGhkbFxoYHxgcHDIeGBkjGxgeHy8gIycpLSwvGB8yNjIqNiYtLCoBCQoKDgwOGg8PGi8kHyUsKSwpLCwsLCwqLCwsLCwsLCwsLCwsLCwsLCwsLCwpLCwsLCwsLCwsLCwpLCwsLCwsLP/AABEIAKgBLAMBIgACEQEDEQH/xAAcAAACAgMBAQAAAAAAAAAAAAAEBQMGAAECBwj/xAA/EAACAgEDAwIEBAQCCQUAAwABAgMREgAEIQUiMRNBBjJRYSNCcZEUUoGhFTNTYnKCscHR4fAHFiRD8WNzsv/EABoBAAMBAQEBAAAAAAAAAAAAAAECAwAEBQb/xAAuEQACAgEDAwIFAwUBAAAAAAAAAQIRIQMSMRNBUQQiBWFxgaEyUpEjM0LR8BX/2gAMAwEAAhEDEQA/APTxreuc9Znrus4aOtZrnPWZa1mo6rWVrnPWZ61mo6rWtc56zPRsO03WsrXOetepzrWaiUPrPU1HnrRbQwNklz1sHUGesz0KDZNnrRbUOes9TQoNkutYjUfqa0W1sgJeNby1EG1megwo7L6jMut3pZ1WckBEJzLDwa8FbF/odBtIKyHPJqJn1R91NKvP8S/kihI1+/t9ARWmfw91tR6gll/MAob2AHPtwP10LHofTtxpN1hzhXNZD3seL40x3O/DBSrAg3z7HVf6vugPOI5Py37Cufprn1E2ysHRB0Nb3Uf2yb9lP/XV19Q6qnw3F3LKObLJ4aqADEilNmlPF39tN95upAeMlGfP4RrEFwRkTwDh83nuGjCaiqZpR3O0NQ51mWqTvuvTKHCyOCIyQQmQyJEakn2pmBr3rXW867KudO5xikY0gY9qkjz47q/U0NP1UL02XO9Zqi7rdM7wh2LEfNwT2imfgEAcA8nx7aBhndUgYM4lcKAQHbkj2iLVxfg+NbqA6bPRDz9TqTbpftz7cf8ALVFl+I5gjuJWoyOF7fy5lV7a54H9ddp8R7iPNjKwKIgsoF7sAzHEggctX9NHqYB0y8bi1UsylQOSxHsOdJx1qBiAJFJJqvezqsr8S7icKsk5dWSRmX0wnaWEaDwLFpJz75fTS/a7weUK36qKhCE0Rk7HPwTin9Mh9tCOpRpadnoQW/GuaHvf7aru038rSKuZq+eB48/TToufrq6lZFxoUjrMv87fudZ/jEv87fvoQqv1P7f99Zx/4dWs5NzC/wDFpf52/fWv8Wl/nb9zobiuP+f/AE10v/nGsbcyf/Fpf9I37nWz1OX/AEjfudCmRR7/APDWerfgX/XWBuYT/icv+kb9zrP8Sl/nb9zodSx9q116TfXQNuZOOpy/6Rv31v8AxOX/AEjfvqD0T9dbCH/81jbmFL1J/d3/AHB/trn/ABGX/St/5/XUSbNjqZNl9ToWbczX+JS/6Q66/wATk/0jf21MuyX3BOpY9jfhf7aXcg3IGHUpf52/tqVeoyV8zX/TR8XS74ofsf8AkNF/4RiOSv6ENf8A/m9K5odKQqG6lPuf7f8ATU8Jmb83/D/pouRlS+5bAugoJr9DrJurqg7nUeDQHJ8kcKLPANaR6hVRkztNlLV+p/Sv+uu1Wvmka/YAeT9PGg//AHRAcR3MSRQC1ZNFQcyBz/T76HHV2MsiRgPHVEhEUEEmlXnnLIfN4rnybm5t8HRHS/cNttOr+7eavG7P0HP20t/EaV/TicLGSQ7ISS1A0ADybH19h4vRkvWpMBjzcYAPBCkAksFwojIY+/t7aE3PxNIIo4y6lpFAD+qis1i+OKDVXND5hXPhHKy+xIUdW6bIioDChdaIYXkRdnJb5u+fP9tAnee8qqMSOwg/JzlRsEefYef00/XdbgyZCTGRSkOJlyUue7vNAKxQBuKsMCK4Jd7D4fIUJKIzEQ5apHMgcmzUhrsoV/XSbmHakUs9eLRx4JGtKcxTcEWbsLXP09qPOlHWt9k1dpPd8pU+T/qk/wB6Or31b4eSIB4ZsXxJQZVkByeSe+rFj76qm7k3BYmTI/UqiK3HsH9OxRH/AB0N1A22HfD3T/w4lkQglXsGPnFiyj/678SDjKh71oqbftXGQDoS1xuoIIVgLvEG5Tx5NN/KdJl69HGKeOZyBeRxkOYYPTWAw7lWjZrjwBrn+Niz7KGMKqowZDiZD+UnGqjThRY4s9wGlu8jJVgAnGUrGvLwpffQFtM3I7R/lj9xf0I+9fOaSiOFjTkt+eVSeBxeCNR/760z2wsEfiSsSM7FIqJfGIv1GofY+44gi2hTtlWVWMgNNkpIVHAsMBwfUP619tOZk3VpVaR7I7YXA5aspSIBwv8A/b5131GdRLFZ7Yg0h7iP8pTILrzyv6aWbeQh8KIzkiA7jfaS1Ae9uEFasG0+At+8kn4TIGTENJIighpELcAlvkBHIHn9sZindxD09vBdZGND3H3oHn5j58+db3u7B27MpJ9aRmWjZPqOSoF/YgAf0Grts/8A0vdWWSWdc1s3ZCiwRWOIJAvyHF17al3PwPAkSh9zMqqAp/hYyrEWBWRzmr64sOLvTInZTQrRh1c90ccafOG+WMMxPupzZuDXgag6Oe2O3J4kkILggZsIl49uImP+8dXuH4K6TtCCYTZB5llkYEe9jLH+2nW2i2rRlYEiAWl/CRBiV5xscgi/H31qNZ5t1HdyxJmgdfqy5ChX8w8A1rafFe6of/HPIv8AypOR9dWmLqe4V8GCOxDUzHt7Sq8sq9oJewCLpGJ8Xo+DrsxsGACjVidMTwDYyo1zXIHIOqZ7Mk6fYrQQV7frraD6G9No9ov0r+mpl23+rx9a107jzRONqT7H99SfwJ+n76Zkr9f212P00NwBbHsP/K1Muy/8rRwiv8xGpPTUef7/APc6G4NC70K12Nmx8D99MA4Hj+2tGcD/AL624NAqdNPvWpl2QHvrZ3A+v7DWhuSTwvH1P/TQsOCRNsPf/wA+mpPSXXHqhjV1XJUcfUDzzXB/bUsZA0ljGomU8BTwffRMUxU8Af11rbRlrth54oHx/wBdMdp0cH8xqz7f1vStlYxb4AN51JwjNkRSk8ceBf2+n11Xd98VIAxRizGscqAJ4sgfMfNfqPvzY/i7py/w2I/nQtzziDzx7nmxfuBqjHpLKmDyI8lIzY2AqsoJcXf5QBX0x45NRlPODu0tGNXIi3HUZJGBDHLAjj2UAkg15N354HnU0m4yA9OIytHTSIfAUBD2kn2Yn7gHz41xt9iwZC1sFyzVrLKoJS29zYxb2r9edA9b6qPT9NFDEf5jAWKPgAkVwoy/ViB7abS097t8Lkrq6iglGKy+Bu9vI8e277QqWN4pxkTTElT2lQB51Jt+ott1WqHpgBmkNhghAON3QyrgAVR+1J+lbv0FpoFFtTKXtWS6Vr/LICx55uvqNM32LAZmUIj0CrPdLYtMFFg4k3S/YnSyneFwNGGblyWBJi7gzuIs1KNx4s8eeDYy82RXkaA+It3DEsTRiKR45UlpiK5UhEq8rqieOOONB7qHBg24f1UclVMYGRZQxTOMXQAUm65HkeRrvq/RYVRV26uVWNuOW7gitWQ/lZxkPfyfB0kngLirqw7oHWQcJvSFygk93B9P1LaNWNfmxs1yovTodXikhkdnEhvBVCmwWtVIWuQzWQxFfpzrzxNvPFucZSqQnPC5F9MlUVXAdgvulkcAYjzwdPU6Tutqcty6SpKAkeMb130wX8MYggISC3F0L0sXboVpVZdd103bNkWxOBGTOeA2NA2eMq8j78+dRbTpykI6qrKQC3cCwLXlRHvyPFDg6856A8IkMMhLKwUj1PZiMglnzVceaP8ATV66Jto0nQKwB5NBvYX9+RZ8aarQltCL4j6QnLRgurMRiEKspBORNDkXzf0x/XVe3XTJArExlsPygH1PNAVVjm7B+l/S/VfiPZJLEuURmCMJAqsAS6kY8/Xmx7duhN/08SUscBUqxt+0Hniw93Xk/wBRxpZKsjrJ5DuZWdGADq5awe0eLHJvz8v99GtuDKg9WMFlrJ+TkzEAeAcB54HkD60NXLr3wdizEeo/vmqgUPuAbc/UgA6UD4aVwKkWzVUwNEGzYqwKBN1rOUkakKR1ASbpIpNtIgy9NXKtIlMTVA2RZoHjj9ORdfQ28s0SbZdxAWdTnC0ixUp9RkZcgqsfB7SeaOq1telHNXTck+m/ivcc8XxX3+/jTX4Y3A2USoxWZxLI7yF1B7gAFv6AVx/q6MWJK2WqbpMwkdk9Nkw7FYMXLBfDNkKBP2Ogx1TcRtT7L8ygGOQH5uLplFAHzzrW6+PUWPIgJxdZqeAa/Kftx4/XVa6r8ZTfwzzq0Yj8gE2zEyIlYKbQGye7kBW8jnVExKLfu+vRqAJc4siVyZLCnBnuwSAAqk8/TS/dpuVkpFSRSwonKPisibOV8fQeSB9aR/BPxIN5OqyQsPVuiguH8MFqYs1hyCfAqgBr1E6zb7BVd0UaPcTlmB28hxCm0dGQk5DEFipJGPPHuNO4vhrNQzyzIxAJVWUBftQHtpyYV44HB+mqr1j4tmg3EkbCJFBHpl+WdCikvw4oZ5rRH5b99NbaE25YjMwP5v2Ouowfqf3/AO+u02g+p1J6Z9gdXPKo3HCPcgakX0x5cGz9H4/YajG1vz/x1PHtvYDn99axkSwrB25P5v2YHjz7ke49tbk9JOfTXEmhkXs/fyNRQuAa9Mv/AL1f8tE76JJACY1Rqq1bnjxfHOptlVlYOoeowgikBI/1aH6nuPGgNwXkPexq+F9h+wA1NBGFUDk0PNCz9zXF66L631M8qmDLAB7f21jCh513/Fgsy5C1xse4y+X99Y0YJB54v9KPm/2/to2I0RKx/XUsTtfGpodoxIuh3G+DyOaH6+D/AEOiIZFjVhYaRb4vnwXAr2OP20rkkVhoykF7PasR3MaYciz4+p+2hd78WGIyn02kCggYcm0ieZrHAFhQAbqyB71qp/EPxDLnIUfAY4cA5BopmHHI7csrNj8gvuF8R9ZznWdQzYRkypQVSPx0XFiQrGnRTZ4pOdRc7PRhoqKHsfV1LSrMyhHACE85PWJGC8gZKDRqy3Gqxv8AbAOsmK04xLBu4lA0TBlN5JSrV2T47SNID1OJZVaN5W26SgiF4lcoFPcUnkk9UOcWa+AMjxWh9x1hpS04UpGTimTH1aByJIHaoLm/N8WBxpNrb5LRlFYLT8M7YEzSRljLOJFdWshsgXUeT3DwScapq86i6dINwJVJCYSxoKFM7G+wBe7tUk3XGZrxpZ6LwDEgUwHg8AMHBkkH53ZgW8BRwKqxqTpu33ErSKWyzEZDiyplVGcs4uwAGBBHHK8k86Ltu2Uwlxz+CN+mZVzShsVy7i3qfnI8AcAggm/W+miR0thHEyP6kfqiORcLbKQBVPiqBDZck2fA131/4Y3EEIznhYjwkUb5KwQ4qH4NdoX6DLwebTwTNGDHGzAsGaQnub2fxxXK2PJ81lofVFJxiq2yvzhjBOsSRoY3i5YoQceAoNI2dcEEk+3zkX5OmfR+vOIyodGzGbBRYyZWUlSo8UIi3dxbV5pVPT0YKTkVRWNCzi8ZAkb/AFfOKlQODlRuiO9rLE7qjYkAWvLKvFLQxOI7R4rjitK5pEmk78B8vTzv4kaay0Em4Y80DE0ocAYijz2L55H30/2iRwNBtm9IIUPOUvrGY40Q9GPEkntAr9KrSDp3UYlcAxRrCqkExRWrElZArY/5ZBAIY2DyTV6n6pIWYNI8SsncFBQhhHk1lzRRfAzF0L+h0YZW6/sTks0l9y2QfD01IwjVQoqWNmuQMaYEMrY0FNEff7DVe3fTt4cQFMbqMWPaQWCg5AZd0ZPA8HtP1BOT/GssPqHbSoxd8mz7rxiwBX/WIiXiwOH9/MvwR8fHc22+VQzv6alExVQFRwWtr7vU8/Sv11RxQm9qrOOn9N3+3libONkYrmMzlRVQz8ikxYZBRd0eedHx7o7zcSLUsEoRlSVouMVYgMrFaosVOJHP3AOrtuNtHRBFcUD/AGFfeyK1VOh9K/gIu9jIzNEAjOcY1oGUqCaCqWIsV4Ue3Kbc4KKSabfImmnaHcXOyzN6YQrCmKqWOLE/ijvOZqvlBHmtNukRxfg4rIkjumJkIza1f1CwBrwhb/f+ngWfouzO9km/jJYzEQf83sVitt3EH8pUVY8nydQ9c+KfRlRoQrKA5DjEh2urZlGYYAlOasH6WdIlV7mByvgYfE/pbeAGeQRZmlwUEMWNkBOCW9z+hOvK54c5bjlJFcXaknx4uh7f99WCTrn8SdrBk0ywmNRGzqDI6Kq5B2qiSDyTzlqvQdOka5YxG699wMSSUzeuCKxCEe55vjQw+APJYI+noI1tiWAo0gAseADZ/c6FPREYkEsC30Pn9vHJ86D3/VnYG6X/AGCCAAOPH09h9tQ9I6s0YExlBGJAUk52bNkVXHH99LkGCwxbGbaRyRQP6Ydy7c4vdKpAf8opKsUeTR0w+Bet7oNHJJuHeF1ZysickAcAOSAGY40Ca83WlMXxGJIWBW2YKquG8FjjyPJq7ONa5XfPCtxvWC9qnjwOAftwBzxprBSZ630br/8AEyNgn4a5DO1YFlYqQCprmuP0OmkuyRzbIrH6lQT/AH14x0z4xZFSJZ3GCgVdWAPm+/1/rpjuf/ULfIcYsZFr5nxu/fyQf7adaqF2lkRTrpiF8n+mhdl8RPLGrxKqK6gjsphfsfuPGsWE+WOuqzymicbxfZcv1/7aPfqbkARqsX1Nc/0FV+96XgAeK1HHugzOlm0xvg13CwR9R5H9DofUaLaNb53RbQeo+a3ZrtLDM8e+N0PrWpX3IAJ8Ackn2A8knWpGABJPABJ/QcnWlcMvFMGH1sEH/iNYxqfdYLk142Lr2sgWfsLsn6aW9d3xwVUPD3bh1AVQVWTk+4RmPj8uiN1ljHgbT1Aj13ELRQ1Rvtar9xX20N0rpJdcZSykGUEAgq4kAbMEDsIcmrAPHjkaVyLQh3DpOkmRTzTHEZAUaDA0f6X++nKdMUowdqUjGxZ5bt8VzydAdT352sMbUCPWhjZmulRnCsx+vHv7XftqrDrU8kMzQRBwjrgLLd08gmBBschlUCyB3i6qyjkdGnoXyHzT7hY5TGVcxbqoiXoFXhCcjkkLLIbBB8E/TUHTmlUuoYTToWd3LIcCoVAoQlSB6c5b/dFnmtRdOjlj2k8U/YryRIkfBYAiM5JjRYeLAPs3gjQHT94E3jCZgkKqCeQSzSbeNCcBeBpx5+vAvwp11SYftFkaRYSYyFk3GS2rXHKySqxIFEF45VoeAV+41Nuumw7dM2IgEkckHaQDi5APaSo7WGV88XojbfG8EUasE/GCJE9lRkkbNh3FgoJyJAJABaiR5K7fdH/i/UZD6hYGVVZpBaSDJSikFEJwuuO6x7HQajy1kyTbKn1CKSCVl/h2oeFLoRQGRc+ymvr48+DoAdXcl5fSjdTlIVMoDKgUMBRWyMSAKuyrV4Oj9wsksrq1qVFsK/OmBwVUB7balJBAo34vXG8gWR2yXOmxkBAuwo5LDi2YO3B+nFadSN0reCfpOxkzUzGJU4kdvUJHpu1NZw7GUd3PsQfY6ZpvdsriTbGRGVwsIc2tFsG7o7BHpgAZcg2OPGk525uEkWFvsAt+blbGNVrEl2pauybJFASbaaL8FZS4RRHGpyHaMlXL5eALYVzdqdK7aG09unJOQDud80m9BcBzmFoEFGsgAWSBiTQs1X9NN/SC+ukZV2OdJahiloF+WiT3MR7UAOa0qnhj20skkczPJtnZ0VomCu0UmPnwyhuDj99Ptr/6rPNtJVmgHqlGUYFgCxzU8UcSKFcm78jSw05JHV631UNWacPAJ/iMUm4U4EFlUZDIIWMjqvN2qqfAHFA83pLueqNj2k0z/h2gyGLANkxBL2jEAgg2DfNab7DYRNGHMuSh6sIwuvSLAdh7yXontN1wfebZ9MO6MKw4k5YRiRbCssPrHkLweLGRN3fHJ0O+TiK/N1YF5vxWxKgqrKaaTnziK7QBVg3fnjR3SN8Wj9SzmTjS2EFHuQgKeDHjYBPzACrJFzb4J2W0hD7vbszmJmOEsgJdcbQKZAuRJ9uONdSfBKTuDt849qSEApi6MpcyMQ1mmyAsHjEfpp6VUjRk07fAjWOFAuSMQRiWsFWXJCuSNQADSsxa+Bfmq0z6K6lZY5EU2E/GxXIMFMjkgg+a9MccYgcedLd506dGo16eMiqO0jtYQIWNUmagNdcWASC2m3UumJHtTLHTeiuGamRVLg3eD2ZKNuWBtjzQA0sU+Cs3GsZHvwt1YOJBJK1wenSuxA4SOQ815BKobHmMn3J0l631R0SMNIw3A255BZ6xaR3a8QMHCgZGuCboA6D2MsX4PcI1jnWR3JUjEUkUbOxBWMBODYs2fc6L6z0KVix4CCFRnlG2WaIHk/8A5CAhYfdv66z4onyyq7naGS4lQBpvT5DCyy2oUm/Jri+fb31AkjplEtPk/hCwINefHsLF8Hz9tWmHaFuobSJz6bTGRo1QFXjj9OULYPK2ic/cEe2g22rKQ6PEyhmZh5dI8QaFLQLWzMTbfKCOdIos21CjZdPUZSq3KNZWqxAkeiT+a8bGPi+dHRbVGWMqXJl8L8pXH8M5kfdCPHkH66j6RvjHCzo8YWRochJ8+JYOVC0aQmyTx+hvTPf9WikneTcOkMjoCgZ6C2BVUBlS+3Fk6bamgJ1yJtz0VQ+WLBak5BDHJVJAoXQ+Uk14NDm6StgxBCYHFQ1tkPUru4Hy2bNNzyPGnu3M00jpEnrDkMQoZSCMvJ4YnzV2a8EaGUyRMXl283IKC4S0Q59saxNjmvp+wg8ZRpU+CpQ9SIla3IX2H3J+/ihr0Dp8oGwkidFZpSjBjIRQA4BFUTTH3I7h9NVH/wBoktykZB9/UcH9KP8A1026rIR3t2UVFA5DiiTZN3QBrxwBrTkuYiJMhfYytkyJGyJ5F2QKFCuP/PbXWy2HU5wz7fZsY8iAQkZFjg0ZBZH6Ei7970J0lX9WUqWIe6LEg0fHvxxr2D4f6nHBtoo1kelUfQ19R41ya+u9FWo2V0nK/a6NQQBRSih9tc73demmdFgGXKvIUkKW/wB28j9gda6XI/op6wqXEZ1RGQ8kH6e/jRLNftr1rPF7mWNRk91+5Fft/wDupEgvzoiPaj2s/wDD9tKFIWbsuXjTEtHKWSQgWEtGZSa/KcSv6sv1002HRvTRVzJCqFFkk0BQsnm69yb0SNuv0Gku628pn3aAyAPt0eJsSYwxLK6eMbOK8E8Bj4uyC8YqsnUfQD6LWfxfUjLMPMgidVV7AAzaJQW482PAFWKRo0jaQmlUFjwfAFnirJr2A1WJN8Y22UskqLhC38SGfHj0siQnuSyXj7BSR41V+ufHDPI0sJlSCTbKzWFrFlHgWGDh3C2GI5aufCnVGLYy+Netod2kaXxE6A5j0z6iKUYAeTmyfMPC2OL0n+DviFFkWJw0pzPqYl1yxvFaJCZAgAZEGkJu24T9Xm9ZtqfT9IvtWQAsFcTJlHFkZAClMqFSWr2Hitbn6NI8O5waNDDIHY5sZCuHpSsGUlsFZSW8iyTdVal6pUGbrrrb2KYsoilR45qYFhUivEqKx/IAUJJyBZbx5ICHedRkWZg7ktjeQILepTFOCKK5gMaAsi7vnUhT0jMzELUDiP1Q47ezFY6Fepmh+QkVldUdddZRo5FvuCfNkSRLEFr1fxK8hfHHlqsFSRT3WuBk0o/Mzbz1HIwjtlVc1VWR1LteAAr8MuxITg8VZ1YOn/EboSVeRSpCo4BNxmTJqWrdQ1D/AHQKpq1UJdw4zU4liM3BQePw3plbsKqysQKK8tiFB5Z9PkJDSPkWwc3HRN4t6eZemkfIljbse7trwC8BXuwWDrPSz/Hum22ob1GJZ1rLFir5AepWGZyPtf01L8L/AA+snqmWRgYPRzCkBs8EtjSmzbNyTZKkke+q6vW5YgQrGP0oiqqDUoDDJFIFAMvoqSVskHg2ObbD1fdepP8Aw6tNCLLUCxkIABKNd3jkL92APubMavIs/asB3XtjAJlhykWX0gy4oXdTK6xZX8qq2A8/Q+5APkvU5n9QKiyFVN0DTWhAJy57sqN+3HA516b8X9PlZ4p1FsFGaLVn0Czx2GUH5mDFfluMc3zqqfF3w9LuI7hVXG3GUvdyWkPzKoNdqim4BpAea4MX2FnwmKJeiuV9T8QXC7HvuR2CNK134BKmx54PGhtk3B9RJBkKIWrC2AGGRrI4P5+/sdQs+7iQxpNlEwaMsh/DoqS4tlDBcWJJqq9+Nc9I+JHhVYmClAaBxBZRbMKNiwGkc8/zn24074JxlUrGPTN086MqcHKBVDX6ad5BZ2IpVOCWzWTVEnwbF8N/EkcE0Qdcyh9QyKWpWZBC0oWPiUsGK4jwEFZG9Vb4f6gzMIZZWSIuC6gnE4AlSQBbKDdj73550w6P1l52ZSMUaNsmIY0a7Bjl3U35j8wNHk8o1WSikpYZ7Xvkg3xUeorNt5gOLwMnBMZPIY9oteSOLA0D0zrboJLhDom5SIPTMXZ2HeAOKOZxcCj22RyR5p03dBZ7iZizOxshAnrrI8tCzQDAIC8bCgvuLOitv8Qgu5bAhJ/VUSAAGcJ8pPCRuokrkVYNCxwg+3sy8ybs/wAdCcysSybhGOR5czLuMaAo8Ko8jHE/prnqI28kqQo7VMrSsJCTSxth2gg9xYEUK4LEcAjVTj3AZMXixkO3LmRhciupjODWAz4DgVxcrXRFnmHf97bpQ0W4jkqKgCJAMm9Jq4h7COOB+JRBsHTKnyJtayh3/wCnkG2bayvuWS5JJSVJqMRx/hkUTTiwxyq6Kg+Bq/8ATo4/4YCB8kC9pBLUCMgODY4I4sHnXms3WjJstjCXSJZUHqNlGHMzcucSKHcxoe5YkihqxfC8kxhlWKmhfPBmKmgYkSIqq45IMKIyWyW54Fo6WQ7Wyv8Aw503cPM27khIsSCIvMQ+BXLMee3uKnwafi71Inw4rg1IYpppWjWMsuILLnI6j8i/mx4N+RZ1YW+G551haaOFJAHWQWGRFLGii4m3KKoyJtQ8lHnS3qHRpEG32rwxS7eFo7L2fWW7d3HPNjIgAksa8aW48Io3KTtiLc/BaySkLNDHIqk/w54d8LS1Jk7eFs9oAsDjSjqm1WSWRD8ykdp+pNcMPp4u64OrbL13c7qKPe9Pizji3EpxoKX/AA2jFlmAESg0eLtAa1fJkh3O19aVBXpljwMlxBsBhdEG/BrTtWQPGJNq0FvG4j9PuFOMhgMSavuNg+x4OrB0vf7ncuI19KVQKYOny2Ls0PPvq19K+HpYURpVWRCciMjSZ9xLLib5PLDwNFQ/DEaGOYIcgxPabA5Iv61Q8eNLWDWU5Pg3cAlWRHW/mBpq/Q/8NI5unIGCgkOxVxmeCoAKsB7CqHj7eeNeo9S2ySxyCJ2DtS9rV5IBPJo0CTQ+/vrzv462bOzvH2x2YgxvjABvp4yFUDyV+ulkqyg3YQ3w6VQOSoJFgCgCPY3oKuBbYmjwWA8Ej6/bQnRdg27VL9VSkeC3mvcS1sGUUQt/Kf5vfU8G43aAqXmSiaUJlQ9ucPNckfUnWjHuxWy7xrfvotEGounSRyIrobUj+o+xBFqw9wRY0eq66jzVExFH01J48D9tYkZPgaG6l1yLbNGJQfxA2JAGNgEhTzdsQFAANlgPOg2WhCwnpm4WeMSRsCrfuCPII9iPcaS/FnxG+xlyOPpeiS1qeHshDfgFmsAEc4HXnI61uWimEUvpIkonC5qApkJVKYfmWSMkjJQbJxrgMOufHj7mLcwsuJkYekUCkqpssr3w3KHkEkgiglHSnStOngtE/WP4np0e4OIV45Y5RJ2lpPSeMqAKY5M1nBhwOPrqizdMUtIFiEeGA5kyRVLUTZI9SlQ8fa/5dG9N6IN9t9r6EhCQrHFuVBTlpHhSQhhIXBJjDC1AJFjydKd06ruwuBxIdVBIEhAciNyrAYhuSMi3aSe0aDLQRN6yLDYhI9QzANgDX4kRjay1FrhIvK1s91+ROnTOF3Kq8io0SgyKeQGdXUSW2TENaUvnNya51Pu0YbHb4yBkZ3skxri4YkgizZBfiifJ4B4A/Stm8hkVZACkLOyNGzKcGph6a+eVUlqsWPvrZHwa3ziRIrxB7VHy+ljGQoUHEEAZMSfb1D55Jmh6wyblBgSPrO7KqH0wgQuoPaCCABfmuSSddb/ZlEeLBFKOrj0x/wDWUX1BRkoMAhBFZEp48krpRuSZJJldY7OQU1wiswvPIg4qAAR+UD20Ld2Ua0nBJWpd+KGcMBuOb0w0MilSWVm+VSuWR7+aRgQRfF8HRHSd2rko4haQoo9TJUIPqWxvlWtBeSjgWeRyLFtN/tNntA0SYyTQxsAJlZw8q0rhOUDUoIGJXtFAmxrXWPjliZikZWMxhS2N26uyOoeNWxVlFgMwu1o8nWrIq1JOKTK4+3e3AjIU5r+ICqlkGPyADGigWyD4I8HXEXUkjhkWeCyNr2DAtiGkxtQw7ARl8vA4Nn2Ih2bJJt4payWX/MDLIBFIFoBWUqQFZsiR7P4+YiT7g+pMIZGZs5IhaKHkxYAH1CpByLIbsGgSTXI1UC2y7xdflXa9NRVBEtK2WOLKyFUUkng2yrR5sE1xRqm46cYS6cySyAxkyEMsbqWjdlQjFgzE2GuwSOL0p6VuiYDODNEqPCqkG+/H8QBjygMbDEe4I57dEx/FEczi/VzVTleI7r7iWY8sSf11rafA+np6coyt57X9RH1xGiB26kGOw+Vd5JjVD3Xyhx8H/mdL5OhN6ayIcuxnIPBAUgUP5idWLqO6gaQfhu7VQCyKW4HjEG7r20u6h1BcYgiSQ40y+orU4ZxRBAsVywI84kea0252sA6WlGErkm6xV+V8kuLAtpHJECSKc5RkG/VAIXjHyAbC/XytVemLdAwPe5VaKnBTJnJTMyKIzynbRs/cjyAX0dY0/ElUM0cX8QCpag9s8YYmmoKihV7gTKCb1F0vp4EDZFzKpe4ngLRECPOjIBauwDdysCo/2jqsIbld0c+EGxQrMaLvG0W3iLESIrM8liRaoYIGIWj47vOeuoNs38SYM09ISJeKogWjkKo1ZwNsxqr5Hvrp27XcFHKj1I7YMWelDEooruMpsHlQrEvyTiDqPcbKNymRRoI4EEg4zVmV5FDMnEpLqWsZCl8CzqL9rpleVyMZdxGjHECVg57ZEqFcFDsOSAjdqmyT4JBGdaD2O8YRRembCxZhhEvJ5dlAFFwrOIihIBxY15szb9Qgk3ZfKPCI+XQoZC4K0UN2gVSCCK5UWND9I6QZ0Kx3NI7I0K2vyCXkEo1KQgZitH5iaOlk03gdXQz6ZvWEjMXVUVAqHEFnjlaNsB8wUM4KWWIpwFC0tMPhn4wO23EUcuCxSs4BXhc2Kngex9RmLCq7gQfYC73fGANGkapHSeoHGYtXZ40IZqEkbVz3Z2ee3gT4T3PpujzK7LKBEHW0LNMqMFLMe6OwCGFLbiguR0jTayG0uD29Tf8AYgiufeiD7f359tB9agDRE/mUWv8AtAeP0OlvRPiSKRJDkqrG+J7gQpoHEtVZDIce11qbdbwSA04FqwFYkgkcEWcSb55se2p221HgXbWRbsN3hE0ccaLlkz+QCSS7kAA93k+9k6S/CG+jR5toJA8BkZX/ABgXLnAuFFBsBVcAeTdtZ1ZUgUng0R4Ni7B4PbwOKPtzfA086ZMDwwXP60Lb78Dzqrl7tpNxxaCqBOPfX2JH9wb0snWHblmkZQCPB5ckHkgDmrr7abhDndflofuSf34/bUG92UUwHqKHC8j6j9ua48e9aoiB53u4USb+I2O6RQKMkchJbAfNQbuurq/H1rjSqPqLSQ7aJlWMHcqWOTAvTF2yIII+bz9SPNVq3dS9TcsySQhFmlSONDRkMYKtMxYNS2ikYjwRySTQq3UPh/19zOEIRIbxGTcsfmGd3+554GjJJDcD2FUBZlZ+LBjDHG+OQPJ/XzqbbzKgqpASbORBN0BfcCa4+uqj09WglH8RFGVJ4RlJk+xF8f1P769A2nW45EDKhrx3LRH2o+36caigsrnwbs5NrB6e5xzytcPBUi6P+sCSL9wE+lCyv1CJGRXaNDJeORonEW1Enkgc1rieIBHJOChGJayMRjy3H0HPGvIOtDdTGGCamm9NaEgPcU9R7YjtAeInigzBUu2GWrWQjHdlnpnwj1d2aTbbl19eOR1UWgkZAA3KrwWCspLAKCGHHk6i+Ofh4b7bB4GDSxMyoyEGiWCv491dBx5FEfpR4opW3G1DuwmQKFkIdZGjCEohSvqmHqVmQwJvGw56Z1CeCPqZBeM5LJDI6ktIxObFldflAGLGr/ENHhdLyX2UxV8H9CbdQOE7GBMcgMalSRTK6vVKeczYU2f3g690k7GSNfSrOgpD5CTCu/EilOUl3xWRBFeWew6h/wDMEm1SWCHdgdkbQ90lDuGRaNCS4v3o+xGrf8Z7JDshJPHCDEysBNJcYs4kMa7zR4XmyBoNsssStnnPRJ22zJJIrdkzJIWLUVEazKuApSp4+Y33EixxpR1rrLjf/wARtPSsMPTK92NY2imgrLk5UVVhq8jje9ZhFCaCh1fAIgvjH1Bxxw6VweKAF0dQwSAieSO2WMxu4NgW6uj1VEKSQf8Ac5JuzXSklLLF1I2rRZf/AH9DMjmXaNK6jwcSqSc0SxFiiL8A8aQbbbGOgsoWV4+1ispkkWYiPFirCjZ8gHnKzxRabtpd105ZmjJxxUSKVdTjaySvGyAqw9Pgo3/2fbVegQYP6gyURlaq6YKQOQT3gOwUnhCycEeNPzd/ahk49o15yG9Mkl3249MLk5QKcvTUIEVwfPlu5TyC5IaiPIY/D00kdpJ2w7gyRzJKwC3iaYsB2kspQPXcGA5oaS7TeTYtEQY45Emb0+LsrmXf8xNIFDMPrQBGmMe2PpxMxyDZDLtyzZ3aig5x7gB+w540q1OllK7waEY60+m3WLRv4hatwY4wewCNFjjcsqwMwVASC1jIAvVMReXnQTThMY42uNlaYhAAkcmDSAhSuXEUSNiWpiL50b0/qypT2qtKcBI4yIAIckH5s8VoEc2eOaGgmWVxB6MiqXTEqeIwYyUNccqAxYkmwD9uZrU6mao6NX0/Rltu+CXpPWZpAWUGhIGEhZiVkxVFHqVR5NhOOGa7A0d02MSTxxjsjENn8qo07j12Wl+XE2Aa+QAeToKXaEqVVZvSaRmmLtGLKA2+EfFE8fmHA96Ot7Do77gSCeT0pVaKJlkZKlICVbGQPl4PGVVQ9gHOd+CTYbgAwhS3pybhm+aQ20bB4xjHLiHRQBnQ+axeJpluOrvvPTjhUeskoRHdIhA4ckAP+Fziii+R70DYGlGxiYNGHchY2ZfwzgSHvLvC/Me6uD4486m2O0yaSOGMlwySxrZ4UBLYUQGYAtQN3R+oBXcrBXYN33Xpdn1Hcpt5FitlNRpG6onzCiynBAW8AAgVxwNJOt9Xn3UUrbm5ZY8ULYItXkS+IUE0FGNVxISfbVp2QU7ZZJXXlHd+xBJ+EBEM2r5RjZ9yQBdAgon2iTAO1hxMY5Fyq4wFkaiF7QxLCyGINe1AM5WwUksgvUemyRbYxtzLKNrDTkKY8F9Vh/LiAIxZJqybHI0rXdusKGGNkANsA34bkRC3NENZBLWKxyI1aN1vEidJYzGDA00wEsh4Mjmo0BFMDQJ9z9rJMXoXDHuJAAWdSFE/nJbUhEy7ivBDRilAFAAHRWpSrkZaSk8OgNyPXphLTkYshfwGQBqFgByvcaJBfkDxqTZNkc41xKRusORRYS4CsxK13O6S9vPdlyQAaI3WzcyMqp6iSqfUIIWJm9SSaNcwSA1xs5rzQXjUXUFhl2+3jhiWP1WlEchY5mSywJJAbFnYIvH1JHA0n0Gkq5AN7B+AoTFTIkSMfUpywzUtwQMTfOYPBADDnTCXdbhDEBGyXAYoVW8ikg9QOsii7dVL2eFsk1ydQdX63EHbJpFxUIuC42uJBTFlFgNZz8kSt9gOoIWO0k3FlfxlXbvkFQ2zK7EHiNAPF0MjQ8UTVIXdk3t+oBIWamUtt0Xljkxp4jNyCoLFyo59ru+NCSy5Sxicfw4lQJKQrHONVC5FeGQAooryLJsg8u5tiU2areZdIzEqD55ecXZwcmGZL+StmgdLv8UkdJ4z2MZIliydmQuJD6jmRgclGPuaA4o+SYuOb5DJSxXBGxdFn9aRwkR9IxjFsmyDRgUbZVWJO4qvIIu7Gpd/t44IY5Wj9SOTxIAo57rXAtlxg1miPvzrhoPUaQr5WLl4kEls5CAoQQzW5JL1kC58itQy9HMbQwg+pkiyO8RMhHBYKAEtfF1RJsXYFaCnQHDwBbXfpGcpVyUk0F80eQPmHjgWPOnXwt8RGLfJOqtguRCP9CMCPqCVLc88/bQP+FiRWlET4RyBBWbFLBP3YgUASf5hyNDDaqsyotBucqa8SF4BvwwyYEexBGi2qErsfTfS+px7mJZYmtT+4Pup+hGtwbZyX9QKcnJqie0cKLNflHivJOvAOm7t0fFZCtWD3NjbDHKgw5A5B/1R9NWzp3V23G7jdJHwSWFMbfxHgGsH5rALE1zzpHKuxuna5PTetQRLE0rop9FCUscKcaFfT2Gqr/hDxbGN82QumbkBSyO/cO1gQVNhGxrwD9dC9Z6285lh9LON5UW4wWkQEnJHA5BwFiv5T9Rdln6ltZUKt6qjxRTcJ54o9oNf20yyJOLhhlO3W68pKoDWCGUDG65u2Wr48H3++tRb7dRdqKuPse7kfXtPP66F+INzHFKsSMZUdQFc9pX7MaAJHjI/8tKTunHasppePav6GjY0lO6oB62rfcD299Vv4w6RCu3l3IVRJFHkhZmC5qxZBQ5ouxFDzlXvqly/EsW96Z6M83pbiJ0aJ/z5R9wZO4U2Ni7FEjVm+GviGDf7dtqWlDlCozI9RggAZ1mW1fyPPdyby86q1QsY9ysdQ6usmyj3DyF5nkaKY3RijUhqUoiubV14BJqV696sfxHvS/Snkf09wTGhT+HZlYIzYCUA3mVZgcSKJBBPnVN658NS7OHbKMXfbOZixjYM4Vg2fki1sRkeWAjv5BpEerzxqgil5x4jXFs3ZgPS9JfJBkN3fdmfmAGlLUmsYCtruXh2wdTLFJHuWbMoCpBUFWxdLEhMagNdc0QfOt734rn3SIHkeQlmjVOxh+IAotQoDseApNVya50u2CMVnjd7jaONnf1e0MrkgOWZQ95UQtmyAKJNcSdQIjk8oQzeVAUOSoBx8tIoGRZicS9+eW3yH4yND1hfTjSRRGVUoFAdmWaR5iWsyHO1KFgSaZiKXSnZloVnjdqXCwCynmw5agTZxSiRda52chZHU9tIG8HJgXTEkgc4kLRAF2ODqCWMRt+I62B8rEEsbalJDWoIC9x/n+lnW5wZvaO9vstxtw7ruhijBVgWSRlZ5EyCYJxkAWYkCrQ8g6wo7ONuu1EjHcSn1ZAyI8zWKrOqqqtsr8UTRAbpJ9XEhvQLkhowzAxqrFscmGQal5L2tHxfMkm43MqxL6zn1y0qxBSB6iWbDUAFGPzZEjEE8c6eDi1kzUrwPdj8HbhZA8sbYwIy9jI2ScoLUG/lJY/ZEAo+COpbRBIMExjIYYh8TCgkYWqlgRK5VlBsUFckkXpDD8V70EbV3c5Ni0ciq11+VieWQ+9tiQbNjQe4Mn4biIDGNV8XgFpmHaAaxYWPNNR50jafH5K1tfKb+RPLB686TFmb8UOAFohVVZJZZFWwi8pZVgRZON8Drd74Q+lFgWEEryAKoJSK8vJskG7YeL4J41NN0aXaSiJzHOkzgFQfxWQnGN8Caj7gD818LdUNCpHgscqxZwh5jlRyCjyshUWB4IDL7L48aFrsIrvOL8h2x2KSQTMv4ipKFU5CsVKyKqu1sGtnFsoVru78a2W5SKYhkctRkjGZUhzTQoyk2QlkEAg8tZPFD7Hp7vFxGkULqGEhoqzB2Z29RawVIlZcG8ZDwXGoOp7ZiJWZRapHJzioxkJKlRnTiqrHPx71esZulQVudqZNqkyEByzh1BW7XHtrhsx3GqquebLMJC8iGMo2MhXgliCB5yBAsEEMOL8gjRGz6o0W1FMGzlXI/KeY42rEMMyptcyGPBqhrIJ5hdyRoCWbmQfhRqSGYBbLp2hQTzkKI5s7bbyQynf4CY0eaKaSFpMckXvpiCR6khwX5QPUuhfggk+REJZYUijxJdS18HhixHN/7N83/TU3TJsCyZMLtgzks2ZVVLMoouQqmhxybF0LkChWZQrOWbtZO3mw2KyZZOVoeAFNe/nSWUqL7le3cLNI6+mWSwrM+V5oVEndfa2d/fu8V5d9W+ImklhEyMACS6JxiFHZgQvaqgquQ/Knn31Bvowq/hoGFBhGcmc5cBji/P8AtUSfrS0IP49TFSRnInJMGXIUlYkA2UkZ7K/rwKvVFkEXtuh3LupPxaiYYhDBeIwT0mRcUUlR2uSfqMC3NAqthvGbbGF8o2EqqXYglWkdmaw7KYipTJiLsE3Xza1tRMUjY3x7R3m7u/pvkvBaUNFdN5yBJ45yLpon3EvrPUKSepJlIBwQUBAUm3yUIWBPze2lwWW5q0dbgJBuzCIWklkDQ1atfqMBG8Ttfzg1X0f5jfDTqnR3hhhhnLxOEaT08R6eFsSoKg5PkVBp/BXtHDaVLvktZIY48omKxBo48WLSO6B4+RGUJZVYkEkjk1Wo99FLDnBm7kJyULvGWlcR1nXiolAb3oAVp6TJNtS7BA6oxDSSiV5YyrTFi+ca5dig1+GSOARiO43yNHdRd/Q3BQZmWnD+mFAZGQlRgSyquYKgHzbEnMDSr+GEMe6UoBI0vpFslXCIx3woLKYwVIPPPbZB8HEesXgeSPawWhxdlJZlxCYkgyFnCgF2NAAWSBjpaVjqToI226RVeVAxm3Kyqn4vfgiovAo1KJQVBagVJ88g66LDMduZAEkLsEcFvliUYJEMTiHBLDv9ifPsH1/p8yiIDamMq0ah2ezkVyUEAlUvhrSxRQGtEbbpMke5l24LkGYHllpiQDZINg5V9Rx+p0G8GwshvQ+jzIZmdWVkkJjGB9OyrKe2OzQlKsKIBw9stcdM7dxLNvIFmMmd+IwJKVlIYkUmClKsnleDzY0u5dtwUujwoOR4I9mNVRo+9EVwfGtP1VzKec1UgICQeSSKx5BvJua8AXqe51wS5yWLbdM20uxsi5ZVOLqlViBHI5KjFQGPCWcsTWV8GfAsmz2m1IaCU7ko8pDRysoUlggEigqiEALkaP1rVe6d0x5dvLEajEKN6ZIyLS5CUluCVBBKkKfN2CfLfY9WWOJF3cjrlC0XYbUGalNohIIA58Gslrw2mTxRXbi+5L8Kdei29fh+u0XqEPGRkECBRmWrEhB3fN49rrXqHw/1htzF6hheKzwH4JFC/PNhuKIFVrwfcbNTPJu0iKwLuDgoZUiaJXkhAjwBYmgbAI+U88jXo/wx8RxQbYgTbg+ngrRywtcRLBMQS2PDHxkWo82dUS7EZ+73Fz6xskkWmiEn6mjV+QfY++vOupdKi9V+2OTuIB9QqQB24kChfF/73nXprspJU/MBZH2Ni/64n9tVXrOy2iy1Lt0LUO4tCMvvTSK3m+SPIOiSR4MFIsqHCigSfIv7gUPBoeRXvWj9t8SttZ1mgxQqGIS+ACAPT7vmDHnj3JPGod9vFlQTGHEs7kCOZFjBUDJjFgWUG7ALi744GlrgSLYP6H/iDXNEfT66PJTc48HoXxP8aQbzp8C8zP6mLZCSL8YAY1TUeGYiy3yi6JB0kbr5VoY3CF9uJQk0ULM0fcFWQ18xuOgQFPPd918kjKtUpR5FkVY7HabRXWOjgO9qUjI2SQaB0qXdvllmbyVkYuMUbIvZJ4u7NHm+a50uClYJd1EzlWCMCUUKSxESswJlJJsUBldMAMWJ8Ea0kKOm2FpiqyWFR2IKuSZXAFtnWI8UAAaAvRjbkOmMsglp7R5GtVC2XkZRbMXNWCCTiSCb1x0d1dhjElorFlAILkuZAkar3M1DAZE/MOKAo8mqgjZbXFHWZvRLYBMyoYD1M1DQ8MgbBBmRiASb7joHdRRRuwKKrOe8yBmCqwHKqnPcCSLo8g8cEHKjs0800fC0DFI3LSp6eTfQjgsw8AuF8eB5ZMpWAVGtpFRqpWSTIZKuOUhUENlfAVQANI0FpMY7uZJPUj24/DZhkjKVhXHErIbjDBiqUQS3nk0L1N1jf7fcPFBstv2Ia/GYgEBLJJLkYFQ1NxzXHjSibbJHeLBgSy5Mvc6+CVyFRoGAa2I7X82DrPiDY/wsyII5FZUOT5G2PNDgUhRGUEDn6862nFRVIE8dwrr25iVI5BGwf8KSVCmA5DRlQW5xKrSsooA+55C3cTKk8aMzosRxZkbvViS0rA15VmK8DkRjXXQukrLuNuMi3Kvl5XGNe5SCMvnVUHtXjWtltLkVcmeR2ckEcGkLEE5d7B1XHjzfngavpTUHdCyTk7C+oSYRZlEdKEaqwbJQbbNCGFHFK98cqGmvTJWi3LelNHHGUkEiRqWWNQiyylchXpEqO6zytV4qmbhmztuPSoU9mypJrkVXFY/oPHh9s2PqBiEaOOJ56j9PhXjzKm/mZTS4t+WPxR52pKLVRVDwbk7ZDt9z6m8R5hn6gNkLw0sgIEjAnvNOG9i1AcHRu9LCKFSyvhGHDkXUbdvgjjlWpRfnkjwBR1JnjaCS3W1YkjFjS/iU0g7GCA+aFr4PFm7LdwyHdOUKQpCWEauTiz5IkIYqcVJIBIq8BYIvUJWGDTdeQKPqZC2yBkZ5FIwjAWV0Xuyq/JF2OQK9zrIpGMdwsjy5qwqKse4Dz6dLbkgWRwb4JIEHSzI0QCqSgaRmvCs/TpgMgb/Dw4otdlRYvR0MLQzOqUU7mB4A5ziT5+00Hb5uOTfm9M8CJJp2FdH6iTvvTkYMxcDPkWWpTdMGHJBWjd1q09X3wVU4BF3Ry+QGkVvm44eyQL48aofQZfU6mjysopnlLeEGAaayAe1Rjdc1QFaum/iLz/iYsywIpYYm2ZmcscRichi3HBux7HXR6fRepJRic+rqrTi2+CHb7yBlknSGEOGjRioWnckl0y9MYlrHnEGuMTwYBJs1cjBQ3qOnpxyqssZFjgqykg0RVE80wHuUnS4sWBQdwAYC6YLVX9QK4+mhZvhbbMb9Ojd8O45+vDedeg/hur5X/fY4f/R0vD/H+zsdB2n8MqlGJeRO5JSQGrEBo/WLIB8tk0KscDkkbJHftMgdO1UJUxAHuyTKMqW7iRWVlvm+o7fDsQVVIYorZhC7Ylv5jRsnk83fJ+uoofheONSA8hDckMVIujz8v3v+n0sFH8O1fC/kePxHSXDZPtemR+hHGZGAdmtW8vJyQGbBfUClTiDXF8EAa5g+H5Iish3jGRZXMZdUOLgqkiP+JbKQQKSvP1JGotp8O4Mv/wAiZwpBxdrU+ODVErQqiaon66edXVZlK2y3K0hKt3d3lDkpBW1Uih7DSP4drJfp/I8fiGk3+r8CSDpmSzhhC80rOLJwj9PnsURsQFsEglhwa4I1INqZduqYhJY3ctiJcZFkUrI5DoMpTi3y3QYmqJ1Ns9jIiLGZRQVvlQYlryDY/lOXJo0fp4qJtruGhNlGdQFU+wClSinFQQoK/Uk39qM36LVX+DKr1ulzvX8E3xLsJWaOWNIpFJje7wLPaqRID5sqI/via5PPLdHlk3SyM5hGLMpAQk0R2rywaw3d54sVzzztJZ1LGSCJyVGJWRkUPVElBwynk+1cfroqVyVSsmtLdCTiHLC+bN0CaNeODdnU36PU/a/4GXrIfuQm2HTrXCSCUD55CA5PzdguzmxHNZcf00Ft9mUBwj3CU7LbxRX3tipNhZKojmyASKJrTv8AiiYijRNyaCmMMoWzxQGPIo/a/tem/wDErOtq+KqjWXullyJVytKVxIGQ9wV96OoPQkrw19UP1VLhoq0U3orGyIjKvm7IfiyzBTyxUXkbr28ak6/Cu9RBA0duEDxrKva1hmKxyOGKLkR7WQfHnQXVYp9ssa+m6SS2zIw5YBn9MWLsnvIBI96sc6nh6pHAU9WF0kx7sVjCk3xTC7NWTfNjyfGoK4rgdMcz9LgjgjSKbBdvI2UcrKpllq8mZW5bEcUTxx4ABWdD3EwA9NnUyTc8qWkjbM0vaxDjFiQeBjfFkaD6tP6qkKjCNznZJwLd3dRNFqUi/PafpovqvWoY+nbX0dsU3CAEv6dRDEY+oFf5ybDWAQG+b7tHPI++uOx6l/6d/Eke6gcgsJRQKyGzgsaohDUAysFL2Pdzq1yS2e0Iw+t+/wBPl18+fCO33Jgk3EcYdlBKRnIiUO/eQoN4Eqcl8NRrkAj2zpe93fpKZYtuXIu45ziQfFBo7HFe5/XTquCMk+fJ4J8MdVj/AIXfwS0C+BiHIJezERV8ghuQTxZPtpeqGONVMbiNcrfHt9RiATmBTfKFq+DxrNZoXkqv02S7a/XDOwAWN1piwAbFlHyc2S1G/IyvXG224JMqGjt2iYljTv5dyrY/MDyDVBTZPFnNZpmHTVqn8wbpcPqTg0UiRnlNUzBF5x7j7CgSxrzZ0yXbxYeunDqLTEItguO9kFYVTIAoJJVjdVres0rYYpIYdWtdvEko9OVoJZIk7SXhljYLeAJSS40emoFW/mGq3toiyukjC1jXDzQSQmRms1iCvbdG/UUe+s1mmqhYtyZNJL62cjSFnLIRyQwsMMAxFhFA5a/GIA1x1Dd+o/agVAvyqpKgjmRgPC2RZxoUAPbWazQCMOk7DJdyWN+qoRfymR2UbmgaNfIL8JRBPtqP4a3cyLM4iWWBBciOFIxelYgHy2K1+g+us1mj3BeLOpdyajaKFfSgObo5IjYq5EbuxI9Ru70qHP4ZBu9DdY3RO4meIs8bKY/UHi2F9zAYk+f1A1rWa1CqVjPrceDJGsoaMsIczF6bmM4jI4t3x9zCiQ3t4OuOudbwdTFDDtWdSjekArhclNlQPwWIquSaJsnWtZovmhmtqtBvSPhn+HA3O5aAxY2AwZ5MziFBVSMTbEFrYDA8XzoXfTn1lMcZWM0I1JByQOyHF3sOeQbPF37DnNZpHyUS9oX8PdPEE0sk6ZhID6i2i8TMgILf5asEZrHjiq8jVgVV9afEswV1TJjy3pxol/Y0OR9b1ms16Xw/+6vueV65/wBJ/Y6La2XPvrNZr6JHgvgxZiDfuPGuktiB9dZrNOkTbJZF54FDWpP7VrNZpuwq5IJJhXg3ruGTgk3X0vz/ANtZrNTZZPPBz65PHv8AU6kgBIJ+n/n76zWa10ZK2cSxZWCSD7MDzWu9i5jcV8osMAeCpFe/F/rrNZoamnHUg1LwGGpLTmtvkB+L9hGIxMMh/lBpInIX5SsbleV8MyeDWV//AGEijptjKkkjySEIGJIid0D84qz3UeYHnn9ONZrNfHyj7j6mGcEG2mkDRy8MIqVQfGIYtiQtZAljdnmzd6fwfGQEhk9H12nVoiJyGxLNXYVALL3UQQLHH31ms0haqWPBY+mx+ohT+GCSze8bCPbsYVuyGQYRY5GrHhio8k9y/DW6kCeru1/DQIgiZsBGvygNGAHAJPcbP18azWam5OOUWj7nTP/Z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6" name="ZoneTexte 5"/>
          <p:cNvSpPr txBox="1"/>
          <p:nvPr/>
        </p:nvSpPr>
        <p:spPr>
          <a:xfrm>
            <a:off x="155575" y="2780928"/>
            <a:ext cx="8758678" cy="10926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500" dirty="0" smtClean="0"/>
              <a:t>Max 5 lines of code per method</a:t>
            </a:r>
            <a:endParaRPr lang="en-US" sz="2000" dirty="0" smtClean="0"/>
          </a:p>
          <a:p>
            <a:pPr algn="ctr"/>
            <a:endParaRPr lang="en-US" sz="2000" dirty="0"/>
          </a:p>
          <a:p>
            <a:pPr algn="ctr"/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41815823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1331640" y="980728"/>
            <a:ext cx="5940152" cy="599478"/>
          </a:xfrm>
        </p:spPr>
        <p:txBody>
          <a:bodyPr/>
          <a:lstStyle/>
          <a:p>
            <a:r>
              <a:rPr lang="fr-FR" sz="3600" dirty="0" err="1" smtClean="0"/>
              <a:t>Iteration</a:t>
            </a:r>
            <a:r>
              <a:rPr lang="fr-FR" sz="3600" dirty="0" smtClean="0"/>
              <a:t> </a:t>
            </a:r>
            <a:r>
              <a:rPr lang="fr-FR" sz="3600" dirty="0"/>
              <a:t>N</a:t>
            </a:r>
            <a:endParaRPr lang="en-US" sz="2400" dirty="0"/>
          </a:p>
        </p:txBody>
      </p:sp>
      <p:sp>
        <p:nvSpPr>
          <p:cNvPr id="8" name="AutoShape 10" descr="data:image/jpeg;base64,/9j/4AAQSkZJRgABAQAAAQABAAD/2wCEAAkGBhQSEBQUExMWFRUVFRgaGBgXFhoeFxoXGhkbFxoYHxgcHDIeGBkjGxgeHy8gIycpLSwvGB8yNjIqNiYtLCoBCQoKDgwOGg8PGi8kHyUsKSwpLCwsLCwqLCwsLCwsLCwsLCwsLCwsLCwsLCwpLCwsLCwsLCwsLCwpLCwsLCwsLP/AABEIAKgBLAMBIgACEQEDEQH/xAAcAAACAgMBAQAAAAAAAAAAAAAEBQMGAAECBwj/xAA/EAACAgEDAwIEBAQCCQUAAwABAgMREgAEIQUiMRNBBjJRYSNCcZEUUoGhFTNTYnKCscHR4fAHFiRD8WNzsv/EABoBAAMBAQEBAAAAAAAAAAAAAAECAwAEBQb/xAAuEQACAgEDAwIFAwUBAAAAAAAAAQIRIQMSMRNBUQQiBWFxgaEyUpEjM0LR8BX/2gAMAwEAAhEDEQA/APTxreuc9Znrus4aOtZrnPWZa1mo6rWVrnPWZ61mo6rWtc56zPRsO03WsrXOetepzrWaiUPrPU1HnrRbQwNklz1sHUGesz0KDZNnrRbUOes9TQoNkutYjUfqa0W1sgJeNby1EG1megwo7L6jMut3pZ1WckBEJzLDwa8FbF/odBtIKyHPJqJn1R91NKvP8S/kihI1+/t9ARWmfw91tR6gll/MAob2AHPtwP10LHofTtxpN1hzhXNZD3seL40x3O/DBSrAg3z7HVf6vugPOI5Py37Cufprn1E2ysHRB0Nb3Uf2yb9lP/XV19Q6qnw3F3LKObLJ4aqADEilNmlPF39tN95upAeMlGfP4RrEFwRkTwDh83nuGjCaiqZpR3O0NQ51mWqTvuvTKHCyOCIyQQmQyJEakn2pmBr3rXW867KudO5xikY0gY9qkjz47q/U0NP1UL02XO9Zqi7rdM7wh2LEfNwT2imfgEAcA8nx7aBhndUgYM4lcKAQHbkj2iLVxfg+NbqA6bPRDz9TqTbpftz7cf8ALVFl+I5gjuJWoyOF7fy5lV7a54H9ddp8R7iPNjKwKIgsoF7sAzHEggctX9NHqYB0y8bi1UsylQOSxHsOdJx1qBiAJFJJqvezqsr8S7icKsk5dWSRmX0wnaWEaDwLFpJz75fTS/a7weUK36qKhCE0Rk7HPwTin9Mh9tCOpRpadnoQW/GuaHvf7aru038rSKuZq+eB48/TToufrq6lZFxoUjrMv87fudZ/jEv87fvoQqv1P7f99Zx/4dWs5NzC/wDFpf52/fWv8Wl/nb9zobiuP+f/AE10v/nGsbcyf/Fpf9I37nWz1OX/AEjfudCmRR7/APDWerfgX/XWBuYT/icv+kb9zrP8Sl/nb9zodSx9q116TfXQNuZOOpy/6Rv31v8AxOX/AEjfvqD0T9dbCH/81jbmFL1J/d3/AHB/trn/ABGX/St/5/XUSbNjqZNl9ToWbczX+JS/6Q66/wATk/0jf21MuyX3BOpY9jfhf7aXcg3IGHUpf52/tqVeoyV8zX/TR8XS74ofsf8AkNF/4RiOSv6ENf8A/m9K5odKQqG6lPuf7f8ATU8Jmb83/D/pouRlS+5bAugoJr9DrJurqg7nUeDQHJ8kcKLPANaR6hVRkztNlLV+p/Sv+uu1Wvmka/YAeT9PGg//AHRAcR3MSRQC1ZNFQcyBz/T76HHV2MsiRgPHVEhEUEEmlXnnLIfN4rnybm5t8HRHS/cNttOr+7eavG7P0HP20t/EaV/TicLGSQ7ISS1A0ADybH19h4vRkvWpMBjzcYAPBCkAksFwojIY+/t7aE3PxNIIo4y6lpFAD+qis1i+OKDVXND5hXPhHKy+xIUdW6bIioDChdaIYXkRdnJb5u+fP9tAnee8qqMSOwg/JzlRsEefYef00/XdbgyZCTGRSkOJlyUue7vNAKxQBuKsMCK4Jd7D4fIUJKIzEQ5apHMgcmzUhrsoV/XSbmHakUs9eLRx4JGtKcxTcEWbsLXP09qPOlHWt9k1dpPd8pU+T/qk/wB6Or31b4eSIB4ZsXxJQZVkByeSe+rFj76qm7k3BYmTI/UqiK3HsH9OxRH/AB0N1A22HfD3T/w4lkQglXsGPnFiyj/678SDjKh71oqbftXGQDoS1xuoIIVgLvEG5Tx5NN/KdJl69HGKeOZyBeRxkOYYPTWAw7lWjZrjwBrn+Niz7KGMKqowZDiZD+UnGqjThRY4s9wGlu8jJVgAnGUrGvLwpffQFtM3I7R/lj9xf0I+9fOaSiOFjTkt+eVSeBxeCNR/760z2wsEfiSsSM7FIqJfGIv1GofY+44gi2hTtlWVWMgNNkpIVHAsMBwfUP619tOZk3VpVaR7I7YXA5aspSIBwv8A/b5131GdRLFZ7Yg0h7iP8pTILrzyv6aWbeQh8KIzkiA7jfaS1Ae9uEFasG0+At+8kn4TIGTENJIighpELcAlvkBHIHn9sZindxD09vBdZGND3H3oHn5j58+db3u7B27MpJ9aRmWjZPqOSoF/YgAf0Grts/8A0vdWWSWdc1s3ZCiwRWOIJAvyHF17al3PwPAkSh9zMqqAp/hYyrEWBWRzmr64sOLvTInZTQrRh1c90ccafOG+WMMxPupzZuDXgag6Oe2O3J4kkILggZsIl49uImP+8dXuH4K6TtCCYTZB5llkYEe9jLH+2nW2i2rRlYEiAWl/CRBiV5xscgi/H31qNZ5t1HdyxJmgdfqy5ChX8w8A1rafFe6of/HPIv8AypOR9dWmLqe4V8GCOxDUzHt7Sq8sq9oJewCLpGJ8Xo+DrsxsGACjVidMTwDYyo1zXIHIOqZ7Mk6fYrQQV7frraD6G9No9ov0r+mpl23+rx9a107jzRONqT7H99SfwJ+n76Zkr9f212P00NwBbHsP/K1Muy/8rRwiv8xGpPTUef7/APc6G4NC70K12Nmx8D99MA4Hj+2tGcD/AL624NAqdNPvWpl2QHvrZ3A+v7DWhuSTwvH1P/TQsOCRNsPf/wA+mpPSXXHqhjV1XJUcfUDzzXB/bUsZA0ljGomU8BTwffRMUxU8Af11rbRlrth54oHx/wBdMdp0cH8xqz7f1vStlYxb4AN51JwjNkRSk8ceBf2+n11Xd98VIAxRizGscqAJ4sgfMfNfqPvzY/i7py/w2I/nQtzziDzx7nmxfuBqjHpLKmDyI8lIzY2AqsoJcXf5QBX0x45NRlPODu0tGNXIi3HUZJGBDHLAjj2UAkg15N354HnU0m4yA9OIytHTSIfAUBD2kn2Yn7gHz41xt9iwZC1sFyzVrLKoJS29zYxb2r9edA9b6qPT9NFDEf5jAWKPgAkVwoy/ViB7abS097t8Lkrq6iglGKy+Bu9vI8e277QqWN4pxkTTElT2lQB51Jt+ott1WqHpgBmkNhghAON3QyrgAVR+1J+lbv0FpoFFtTKXtWS6Vr/LICx55uvqNM32LAZmUIj0CrPdLYtMFFg4k3S/YnSyneFwNGGblyWBJi7gzuIs1KNx4s8eeDYy82RXkaA+It3DEsTRiKR45UlpiK5UhEq8rqieOOONB7qHBg24f1UclVMYGRZQxTOMXQAUm65HkeRrvq/RYVRV26uVWNuOW7gitWQ/lZxkPfyfB0kngLirqw7oHWQcJvSFygk93B9P1LaNWNfmxs1yovTodXikhkdnEhvBVCmwWtVIWuQzWQxFfpzrzxNvPFucZSqQnPC5F9MlUVXAdgvulkcAYjzwdPU6Tutqcty6SpKAkeMb130wX8MYggISC3F0L0sXboVpVZdd103bNkWxOBGTOeA2NA2eMq8j78+dRbTpykI6qrKQC3cCwLXlRHvyPFDg6856A8IkMMhLKwUj1PZiMglnzVceaP8ATV66Jto0nQKwB5NBvYX9+RZ8aarQltCL4j6QnLRgurMRiEKspBORNDkXzf0x/XVe3XTJArExlsPygH1PNAVVjm7B+l/S/VfiPZJLEuURmCMJAqsAS6kY8/Xmx7duhN/08SUscBUqxt+0Hniw93Xk/wBRxpZKsjrJ5DuZWdGADq5awe0eLHJvz8v99GtuDKg9WMFlrJ+TkzEAeAcB54HkD60NXLr3wdizEeo/vmqgUPuAbc/UgA6UD4aVwKkWzVUwNEGzYqwKBN1rOUkakKR1ASbpIpNtIgy9NXKtIlMTVA2RZoHjj9ORdfQ28s0SbZdxAWdTnC0ixUp9RkZcgqsfB7SeaOq1telHNXTck+m/ivcc8XxX3+/jTX4Y3A2USoxWZxLI7yF1B7gAFv6AVx/q6MWJK2WqbpMwkdk9Nkw7FYMXLBfDNkKBP2Ogx1TcRtT7L8ygGOQH5uLplFAHzzrW6+PUWPIgJxdZqeAa/Kftx4/XVa6r8ZTfwzzq0Yj8gE2zEyIlYKbQGye7kBW8jnVExKLfu+vRqAJc4siVyZLCnBnuwSAAqk8/TS/dpuVkpFSRSwonKPisibOV8fQeSB9aR/BPxIN5OqyQsPVuiguH8MFqYs1hyCfAqgBr1E6zb7BVd0UaPcTlmB28hxCm0dGQk5DEFipJGPPHuNO4vhrNQzyzIxAJVWUBftQHtpyYV44HB+mqr1j4tmg3EkbCJFBHpl+WdCikvw4oZ5rRH5b99NbaE25YjMwP5v2Ouowfqf3/AO+u02g+p1J6Z9gdXPKo3HCPcgakX0x5cGz9H4/YajG1vz/x1PHtvYDn99axkSwrB25P5v2YHjz7ke49tbk9JOfTXEmhkXs/fyNRQuAa9Mv/AL1f8tE76JJACY1Rqq1bnjxfHOptlVlYOoeowgikBI/1aH6nuPGgNwXkPexq+F9h+wA1NBGFUDk0PNCz9zXF66L631M8qmDLAB7f21jCh513/Fgsy5C1xse4y+X99Y0YJB54v9KPm/2/to2I0RKx/XUsTtfGpodoxIuh3G+DyOaH6+D/AEOiIZFjVhYaRb4vnwXAr2OP20rkkVhoykF7PasR3MaYciz4+p+2hd78WGIyn02kCggYcm0ieZrHAFhQAbqyB71qp/EPxDLnIUfAY4cA5BopmHHI7csrNj8gvuF8R9ZznWdQzYRkypQVSPx0XFiQrGnRTZ4pOdRc7PRhoqKHsfV1LSrMyhHACE85PWJGC8gZKDRqy3Gqxv8AbAOsmK04xLBu4lA0TBlN5JSrV2T47SNID1OJZVaN5W26SgiF4lcoFPcUnkk9UOcWa+AMjxWh9x1hpS04UpGTimTH1aByJIHaoLm/N8WBxpNrb5LRlFYLT8M7YEzSRljLOJFdWshsgXUeT3DwScapq86i6dINwJVJCYSxoKFM7G+wBe7tUk3XGZrxpZ6LwDEgUwHg8AMHBkkH53ZgW8BRwKqxqTpu33ErSKWyzEZDiyplVGcs4uwAGBBHHK8k86Ltu2Uwlxz+CN+mZVzShsVy7i3qfnI8AcAggm/W+miR0thHEyP6kfqiORcLbKQBVPiqBDZck2fA131/4Y3EEIznhYjwkUb5KwQ4qH4NdoX6DLwebTwTNGDHGzAsGaQnub2fxxXK2PJ81lofVFJxiq2yvzhjBOsSRoY3i5YoQceAoNI2dcEEk+3zkX5OmfR+vOIyodGzGbBRYyZWUlSo8UIi3dxbV5pVPT0YKTkVRWNCzi8ZAkb/AFfOKlQODlRuiO9rLE7qjYkAWvLKvFLQxOI7R4rjitK5pEmk78B8vTzv4kaay0Em4Y80DE0ocAYijz2L55H30/2iRwNBtm9IIUPOUvrGY40Q9GPEkntAr9KrSDp3UYlcAxRrCqkExRWrElZArY/5ZBAIY2DyTV6n6pIWYNI8SsncFBQhhHk1lzRRfAzF0L+h0YZW6/sTks0l9y2QfD01IwjVQoqWNmuQMaYEMrY0FNEff7DVe3fTt4cQFMbqMWPaQWCg5AZd0ZPA8HtP1BOT/GssPqHbSoxd8mz7rxiwBX/WIiXiwOH9/MvwR8fHc22+VQzv6alExVQFRwWtr7vU8/Sv11RxQm9qrOOn9N3+3libONkYrmMzlRVQz8ikxYZBRd0eedHx7o7zcSLUsEoRlSVouMVYgMrFaosVOJHP3AOrtuNtHRBFcUD/AGFfeyK1VOh9K/gIu9jIzNEAjOcY1oGUqCaCqWIsV4Ue3Kbc4KKSabfImmnaHcXOyzN6YQrCmKqWOLE/ijvOZqvlBHmtNukRxfg4rIkjumJkIza1f1CwBrwhb/f+ngWfouzO9km/jJYzEQf83sVitt3EH8pUVY8nydQ9c+KfRlRoQrKA5DjEh2urZlGYYAlOasH6WdIlV7mByvgYfE/pbeAGeQRZmlwUEMWNkBOCW9z+hOvK54c5bjlJFcXaknx4uh7f99WCTrn8SdrBk0ywmNRGzqDI6Kq5B2qiSDyTzlqvQdOka5YxG699wMSSUzeuCKxCEe55vjQw+APJYI+noI1tiWAo0gAseADZ/c6FPREYkEsC30Pn9vHJ86D3/VnYG6X/AGCCAAOPH09h9tQ9I6s0YExlBGJAUk52bNkVXHH99LkGCwxbGbaRyRQP6Ydy7c4vdKpAf8opKsUeTR0w+Bet7oNHJJuHeF1ZysickAcAOSAGY40Ca83WlMXxGJIWBW2YKquG8FjjyPJq7ONa5XfPCtxvWC9qnjwOAftwBzxprBSZ630br/8AEyNgn4a5DO1YFlYqQCprmuP0OmkuyRzbIrH6lQT/AH14x0z4xZFSJZ3GCgVdWAPm+/1/rpjuf/ULfIcYsZFr5nxu/fyQf7adaqF2lkRTrpiF8n+mhdl8RPLGrxKqK6gjsphfsfuPGsWE+WOuqzymicbxfZcv1/7aPfqbkARqsX1Nc/0FV+96XgAeK1HHugzOlm0xvg13CwR9R5H9DofUaLaNb53RbQeo+a3ZrtLDM8e+N0PrWpX3IAJ8Ackn2A8knWpGABJPABJ/QcnWlcMvFMGH1sEH/iNYxqfdYLk142Lr2sgWfsLsn6aW9d3xwVUPD3bh1AVQVWTk+4RmPj8uiN1ljHgbT1Aj13ELRQ1Rvtar9xX20N0rpJdcZSykGUEAgq4kAbMEDsIcmrAPHjkaVyLQh3DpOkmRTzTHEZAUaDA0f6X++nKdMUowdqUjGxZ5bt8VzydAdT352sMbUCPWhjZmulRnCsx+vHv7XftqrDrU8kMzQRBwjrgLLd08gmBBschlUCyB3i6qyjkdGnoXyHzT7hY5TGVcxbqoiXoFXhCcjkkLLIbBB8E/TUHTmlUuoYTToWd3LIcCoVAoQlSB6c5b/dFnmtRdOjlj2k8U/YryRIkfBYAiM5JjRYeLAPs3gjQHT94E3jCZgkKqCeQSzSbeNCcBeBpx5+vAvwp11SYftFkaRYSYyFk3GS2rXHKySqxIFEF45VoeAV+41Nuumw7dM2IgEkckHaQDi5APaSo7WGV88XojbfG8EUasE/GCJE9lRkkbNh3FgoJyJAJABaiR5K7fdH/i/UZD6hYGVVZpBaSDJSikFEJwuuO6x7HQajy1kyTbKn1CKSCVl/h2oeFLoRQGRc+ymvr48+DoAdXcl5fSjdTlIVMoDKgUMBRWyMSAKuyrV4Oj9wsksrq1qVFsK/OmBwVUB7balJBAo34vXG8gWR2yXOmxkBAuwo5LDi2YO3B+nFadSN0reCfpOxkzUzGJU4kdvUJHpu1NZw7GUd3PsQfY6ZpvdsriTbGRGVwsIc2tFsG7o7BHpgAZcg2OPGk525uEkWFvsAt+blbGNVrEl2pauybJFASbaaL8FZS4RRHGpyHaMlXL5eALYVzdqdK7aG09unJOQDud80m9BcBzmFoEFGsgAWSBiTQs1X9NN/SC+ukZV2OdJahiloF+WiT3MR7UAOa0qnhj20skkczPJtnZ0VomCu0UmPnwyhuDj99Ptr/6rPNtJVmgHqlGUYFgCxzU8UcSKFcm78jSw05JHV631UNWacPAJ/iMUm4U4EFlUZDIIWMjqvN2qqfAHFA83pLueqNj2k0z/h2gyGLANkxBL2jEAgg2DfNab7DYRNGHMuSh6sIwuvSLAdh7yXontN1wfebZ9MO6MKw4k5YRiRbCssPrHkLweLGRN3fHJ0O+TiK/N1YF5vxWxKgqrKaaTnziK7QBVg3fnjR3SN8Wj9SzmTjS2EFHuQgKeDHjYBPzACrJFzb4J2W0hD7vbszmJmOEsgJdcbQKZAuRJ9uONdSfBKTuDt849qSEApi6MpcyMQ1mmyAsHjEfpp6VUjRk07fAjWOFAuSMQRiWsFWXJCuSNQADSsxa+Bfmq0z6K6lZY5EU2E/GxXIMFMjkgg+a9MccYgcedLd506dGo16eMiqO0jtYQIWNUmagNdcWASC2m3UumJHtTLHTeiuGamRVLg3eD2ZKNuWBtjzQA0sU+Cs3GsZHvwt1YOJBJK1wenSuxA4SOQ815BKobHmMn3J0l631R0SMNIw3A255BZ6xaR3a8QMHCgZGuCboA6D2MsX4PcI1jnWR3JUjEUkUbOxBWMBODYs2fc6L6z0KVix4CCFRnlG2WaIHk/8A5CAhYfdv66z4onyyq7naGS4lQBpvT5DCyy2oUm/Jri+fb31AkjplEtPk/hCwINefHsLF8Hz9tWmHaFuobSJz6bTGRo1QFXjj9OULYPK2ic/cEe2g22rKQ6PEyhmZh5dI8QaFLQLWzMTbfKCOdIos21CjZdPUZSq3KNZWqxAkeiT+a8bGPi+dHRbVGWMqXJl8L8pXH8M5kfdCPHkH66j6RvjHCzo8YWRochJ8+JYOVC0aQmyTx+hvTPf9WikneTcOkMjoCgZ6C2BVUBlS+3Fk6bamgJ1yJtz0VQ+WLBak5BDHJVJAoXQ+Uk14NDm6StgxBCYHFQ1tkPUru4Hy2bNNzyPGnu3M00jpEnrDkMQoZSCMvJ4YnzV2a8EaGUyRMXl283IKC4S0Q59saxNjmvp+wg8ZRpU+CpQ9SIla3IX2H3J+/ihr0Dp8oGwkidFZpSjBjIRQA4BFUTTH3I7h9NVH/wBoktykZB9/UcH9KP8A1026rIR3t2UVFA5DiiTZN3QBrxwBrTkuYiJMhfYytkyJGyJ5F2QKFCuP/PbXWy2HU5wz7fZsY8iAQkZFjg0ZBZH6Ei7970J0lX9WUqWIe6LEg0fHvxxr2D4f6nHBtoo1kelUfQ19R41ya+u9FWo2V0nK/a6NQQBRSih9tc73demmdFgGXKvIUkKW/wB28j9gda6XI/op6wqXEZ1RGQ8kH6e/jRLNftr1rPF7mWNRk91+5Fft/wDupEgvzoiPaj2s/wDD9tKFIWbsuXjTEtHKWSQgWEtGZSa/KcSv6sv1002HRvTRVzJCqFFkk0BQsnm69yb0SNuv0Gku628pn3aAyAPt0eJsSYwxLK6eMbOK8E8Bj4uyC8YqsnUfQD6LWfxfUjLMPMgidVV7AAzaJQW482PAFWKRo0jaQmlUFjwfAFnirJr2A1WJN8Y22UskqLhC38SGfHj0siQnuSyXj7BSR41V+ufHDPI0sJlSCTbKzWFrFlHgWGDh3C2GI5aufCnVGLYy+Netod2kaXxE6A5j0z6iKUYAeTmyfMPC2OL0n+DviFFkWJw0pzPqYl1yxvFaJCZAgAZEGkJu24T9Xm9ZtqfT9IvtWQAsFcTJlHFkZAClMqFSWr2Hitbn6NI8O5waNDDIHY5sZCuHpSsGUlsFZSW8iyTdVal6pUGbrrrb2KYsoilR45qYFhUivEqKx/IAUJJyBZbx5ICHedRkWZg7ktjeQILepTFOCKK5gMaAsi7vnUhT0jMzELUDiP1Q47ezFY6Fepmh+QkVldUdddZRo5FvuCfNkSRLEFr1fxK8hfHHlqsFSRT3WuBk0o/Mzbz1HIwjtlVc1VWR1LteAAr8MuxITg8VZ1YOn/EboSVeRSpCo4BNxmTJqWrdQ1D/AHQKpq1UJdw4zU4liM3BQePw3plbsKqysQKK8tiFB5Z9PkJDSPkWwc3HRN4t6eZemkfIljbse7trwC8BXuwWDrPSz/Hum22ob1GJZ1rLFir5AepWGZyPtf01L8L/AA+snqmWRgYPRzCkBs8EtjSmzbNyTZKkke+q6vW5YgQrGP0oiqqDUoDDJFIFAMvoqSVskHg2ObbD1fdepP8Aw6tNCLLUCxkIABKNd3jkL92APubMavIs/asB3XtjAJlhykWX0gy4oXdTK6xZX8qq2A8/Q+5APkvU5n9QKiyFVN0DTWhAJy57sqN+3HA516b8X9PlZ4p1FsFGaLVn0Czx2GUH5mDFfluMc3zqqfF3w9LuI7hVXG3GUvdyWkPzKoNdqim4BpAea4MX2FnwmKJeiuV9T8QXC7HvuR2CNK134BKmx54PGhtk3B9RJBkKIWrC2AGGRrI4P5+/sdQs+7iQxpNlEwaMsh/DoqS4tlDBcWJJqq9+Nc9I+JHhVYmClAaBxBZRbMKNiwGkc8/zn24074JxlUrGPTN086MqcHKBVDX6ad5BZ2IpVOCWzWTVEnwbF8N/EkcE0Qdcyh9QyKWpWZBC0oWPiUsGK4jwEFZG9Vb4f6gzMIZZWSIuC6gnE4AlSQBbKDdj73550w6P1l52ZSMUaNsmIY0a7Bjl3U35j8wNHk8o1WSikpYZ7Xvkg3xUeorNt5gOLwMnBMZPIY9oteSOLA0D0zrboJLhDom5SIPTMXZ2HeAOKOZxcCj22RyR5p03dBZ7iZizOxshAnrrI8tCzQDAIC8bCgvuLOitv8Qgu5bAhJ/VUSAAGcJ8pPCRuokrkVYNCxwg+3sy8ybs/wAdCcysSybhGOR5czLuMaAo8Ko8jHE/prnqI28kqQo7VMrSsJCTSxth2gg9xYEUK4LEcAjVTj3AZMXixkO3LmRhciupjODWAz4DgVxcrXRFnmHf97bpQ0W4jkqKgCJAMm9Jq4h7COOB+JRBsHTKnyJtayh3/wCnkG2bayvuWS5JJSVJqMRx/hkUTTiwxyq6Kg+Bq/8ATo4/4YCB8kC9pBLUCMgODY4I4sHnXms3WjJstjCXSJZUHqNlGHMzcucSKHcxoe5YkihqxfC8kxhlWKmhfPBmKmgYkSIqq45IMKIyWyW54Fo6WQ7Wyv8Aw503cPM27khIsSCIvMQ+BXLMee3uKnwafi71Inw4rg1IYpppWjWMsuILLnI6j8i/mx4N+RZ1YW+G551haaOFJAHWQWGRFLGii4m3KKoyJtQ8lHnS3qHRpEG32rwxS7eFo7L2fWW7d3HPNjIgAksa8aW48Io3KTtiLc/BaySkLNDHIqk/w54d8LS1Jk7eFs9oAsDjSjqm1WSWRD8ykdp+pNcMPp4u64OrbL13c7qKPe9Pizji3EpxoKX/AA2jFlmAESg0eLtAa1fJkh3O19aVBXpljwMlxBsBhdEG/BrTtWQPGJNq0FvG4j9PuFOMhgMSavuNg+x4OrB0vf7ncuI19KVQKYOny2Ls0PPvq19K+HpYURpVWRCciMjSZ9xLLib5PLDwNFQ/DEaGOYIcgxPabA5Iv61Q8eNLWDWU5Pg3cAlWRHW/mBpq/Q/8NI5unIGCgkOxVxmeCoAKsB7CqHj7eeNeo9S2ySxyCJ2DtS9rV5IBPJo0CTQ+/vrzv462bOzvH2x2YgxvjABvp4yFUDyV+ulkqyg3YQ3w6VQOSoJFgCgCPY3oKuBbYmjwWA8Ej6/bQnRdg27VL9VSkeC3mvcS1sGUUQt/Kf5vfU8G43aAqXmSiaUJlQ9ucPNckfUnWjHuxWy7xrfvotEGounSRyIrobUj+o+xBFqw9wRY0eq66jzVExFH01J48D9tYkZPgaG6l1yLbNGJQfxA2JAGNgEhTzdsQFAANlgPOg2WhCwnpm4WeMSRsCrfuCPII9iPcaS/FnxG+xlyOPpeiS1qeHshDfgFmsAEc4HXnI61uWimEUvpIkonC5qApkJVKYfmWSMkjJQbJxrgMOufHj7mLcwsuJkYekUCkqpssr3w3KHkEkgiglHSnStOngtE/WP4np0e4OIV45Y5RJ2lpPSeMqAKY5M1nBhwOPrqizdMUtIFiEeGA5kyRVLUTZI9SlQ8fa/5dG9N6IN9t9r6EhCQrHFuVBTlpHhSQhhIXBJjDC1AJFjydKd06ruwuBxIdVBIEhAciNyrAYhuSMi3aSe0aDLQRN6yLDYhI9QzANgDX4kRjay1FrhIvK1s91+ROnTOF3Kq8io0SgyKeQGdXUSW2TENaUvnNya51Pu0YbHb4yBkZ3skxri4YkgizZBfiifJ4B4A/Stm8hkVZACkLOyNGzKcGph6a+eVUlqsWPvrZHwa3ziRIrxB7VHy+ljGQoUHEEAZMSfb1D55Jmh6wyblBgSPrO7KqH0wgQuoPaCCABfmuSSddb/ZlEeLBFKOrj0x/wDWUX1BRkoMAhBFZEp48krpRuSZJJldY7OQU1wiswvPIg4qAAR+UD20Ld2Ua0nBJWpd+KGcMBuOb0w0MilSWVm+VSuWR7+aRgQRfF8HRHSd2rko4haQoo9TJUIPqWxvlWtBeSjgWeRyLFtN/tNntA0SYyTQxsAJlZw8q0rhOUDUoIGJXtFAmxrXWPjliZikZWMxhS2N26uyOoeNWxVlFgMwu1o8nWrIq1JOKTK4+3e3AjIU5r+ICqlkGPyADGigWyD4I8HXEXUkjhkWeCyNr2DAtiGkxtQw7ARl8vA4Nn2Ih2bJJt4payWX/MDLIBFIFoBWUqQFZsiR7P4+YiT7g+pMIZGZs5IhaKHkxYAH1CpByLIbsGgSTXI1UC2y7xdflXa9NRVBEtK2WOLKyFUUkng2yrR5sE1xRqm46cYS6cySyAxkyEMsbqWjdlQjFgzE2GuwSOL0p6VuiYDODNEqPCqkG+/H8QBjygMbDEe4I57dEx/FEczi/VzVTleI7r7iWY8sSf11rafA+np6coyt57X9RH1xGiB26kGOw+Vd5JjVD3Xyhx8H/mdL5OhN6ayIcuxnIPBAUgUP5idWLqO6gaQfhu7VQCyKW4HjEG7r20u6h1BcYgiSQ40y+orU4ZxRBAsVywI84kea0252sA6WlGErkm6xV+V8kuLAtpHJECSKc5RkG/VAIXjHyAbC/XytVemLdAwPe5VaKnBTJnJTMyKIzynbRs/cjyAX0dY0/ElUM0cX8QCpag9s8YYmmoKihV7gTKCb1F0vp4EDZFzKpe4ngLRECPOjIBauwDdysCo/2jqsIbld0c+EGxQrMaLvG0W3iLESIrM8liRaoYIGIWj47vOeuoNs38SYM09ISJeKogWjkKo1ZwNsxqr5Hvrp27XcFHKj1I7YMWelDEooruMpsHlQrEvyTiDqPcbKNymRRoI4EEg4zVmV5FDMnEpLqWsZCl8CzqL9rpleVyMZdxGjHECVg57ZEqFcFDsOSAjdqmyT4JBGdaD2O8YRRembCxZhhEvJ5dlAFFwrOIihIBxY15szb9Qgk3ZfKPCI+XQoZC4K0UN2gVSCCK5UWND9I6QZ0Kx3NI7I0K2vyCXkEo1KQgZitH5iaOlk03gdXQz6ZvWEjMXVUVAqHEFnjlaNsB8wUM4KWWIpwFC0tMPhn4wO23EUcuCxSs4BXhc2Kngex9RmLCq7gQfYC73fGANGkapHSeoHGYtXZ40IZqEkbVz3Z2ee3gT4T3PpujzK7LKBEHW0LNMqMFLMe6OwCGFLbiguR0jTayG0uD29Tf8AYgiufeiD7f359tB9agDRE/mUWv8AtAeP0OlvRPiSKRJDkqrG+J7gQpoHEtVZDIce11qbdbwSA04FqwFYkgkcEWcSb55se2p221HgXbWRbsN3hE0ccaLlkz+QCSS7kAA93k+9k6S/CG+jR5toJA8BkZX/ABgXLnAuFFBsBVcAeTdtZ1ZUgUng0R4Ni7B4PbwOKPtzfA086ZMDwwXP60Lb78Dzqrl7tpNxxaCqBOPfX2JH9wb0snWHblmkZQCPB5ckHkgDmrr7abhDndflofuSf34/bUG92UUwHqKHC8j6j9ua48e9aoiB53u4USb+I2O6RQKMkchJbAfNQbuurq/H1rjSqPqLSQ7aJlWMHcqWOTAvTF2yIII+bz9SPNVq3dS9TcsySQhFmlSONDRkMYKtMxYNS2ikYjwRySTQq3UPh/19zOEIRIbxGTcsfmGd3+554GjJJDcD2FUBZlZ+LBjDHG+OQPJ/XzqbbzKgqpASbORBN0BfcCa4+uqj09WglH8RFGVJ4RlJk+xF8f1P769A2nW45EDKhrx3LRH2o+36caigsrnwbs5NrB6e5xzytcPBUi6P+sCSL9wE+lCyv1CJGRXaNDJeORonEW1Enkgc1rieIBHJOChGJayMRjy3H0HPGvIOtDdTGGCamm9NaEgPcU9R7YjtAeInigzBUu2GWrWQjHdlnpnwj1d2aTbbl19eOR1UWgkZAA3KrwWCspLAKCGHHk6i+Ofh4b7bB4GDSxMyoyEGiWCv491dBx5FEfpR4opW3G1DuwmQKFkIdZGjCEohSvqmHqVmQwJvGw56Z1CeCPqZBeM5LJDI6ktIxObFldflAGLGr/ENHhdLyX2UxV8H9CbdQOE7GBMcgMalSRTK6vVKeczYU2f3g690k7GSNfSrOgpD5CTCu/EilOUl3xWRBFeWew6h/wDMEm1SWCHdgdkbQ90lDuGRaNCS4v3o+xGrf8Z7JDshJPHCDEysBNJcYs4kMa7zR4XmyBoNsssStnnPRJ22zJJIrdkzJIWLUVEazKuApSp4+Y33EixxpR1rrLjf/wARtPSsMPTK92NY2imgrLk5UVVhq8jje9ZhFCaCh1fAIgvjH1Bxxw6VweKAF0dQwSAieSO2WMxu4NgW6uj1VEKSQf8Ac5JuzXSklLLF1I2rRZf/AH9DMjmXaNK6jwcSqSc0SxFiiL8A8aQbbbGOgsoWV4+1ispkkWYiPFirCjZ8gHnKzxRabtpd105ZmjJxxUSKVdTjaySvGyAqw9Pgo3/2fbVegQYP6gyURlaq6YKQOQT3gOwUnhCycEeNPzd/ahk49o15yG9Mkl3249MLk5QKcvTUIEVwfPlu5TyC5IaiPIY/D00kdpJ2w7gyRzJKwC3iaYsB2kspQPXcGA5oaS7TeTYtEQY45Emb0+LsrmXf8xNIFDMPrQBGmMe2PpxMxyDZDLtyzZ3aig5x7gB+w540q1OllK7waEY60+m3WLRv4hatwY4wewCNFjjcsqwMwVASC1jIAvVMReXnQTThMY42uNlaYhAAkcmDSAhSuXEUSNiWpiL50b0/qypT2qtKcBI4yIAIckH5s8VoEc2eOaGgmWVxB6MiqXTEqeIwYyUNccqAxYkmwD9uZrU6mao6NX0/Rltu+CXpPWZpAWUGhIGEhZiVkxVFHqVR5NhOOGa7A0d02MSTxxjsjENn8qo07j12Wl+XE2Aa+QAeToKXaEqVVZvSaRmmLtGLKA2+EfFE8fmHA96Ot7Do77gSCeT0pVaKJlkZKlICVbGQPl4PGVVQ9gHOd+CTYbgAwhS3pybhm+aQ20bB4xjHLiHRQBnQ+axeJpluOrvvPTjhUeskoRHdIhA4ckAP+Fziii+R70DYGlGxiYNGHchY2ZfwzgSHvLvC/Me6uD4486m2O0yaSOGMlwySxrZ4UBLYUQGYAtQN3R+oBXcrBXYN33Xpdn1Hcpt5FitlNRpG6onzCiynBAW8AAgVxwNJOt9Xn3UUrbm5ZY8ULYItXkS+IUE0FGNVxISfbVp2QU7ZZJXXlHd+xBJ+EBEM2r5RjZ9yQBdAgon2iTAO1hxMY5Fyq4wFkaiF7QxLCyGINe1AM5WwUksgvUemyRbYxtzLKNrDTkKY8F9Vh/LiAIxZJqybHI0rXdusKGGNkANsA34bkRC3NENZBLWKxyI1aN1vEidJYzGDA00wEsh4Mjmo0BFMDQJ9z9rJMXoXDHuJAAWdSFE/nJbUhEy7ivBDRilAFAAHRWpSrkZaSk8OgNyPXphLTkYshfwGQBqFgByvcaJBfkDxqTZNkc41xKRusORRYS4CsxK13O6S9vPdlyQAaI3WzcyMqp6iSqfUIIWJm9SSaNcwSA1xs5rzQXjUXUFhl2+3jhiWP1WlEchY5mSywJJAbFnYIvH1JHA0n0Gkq5AN7B+AoTFTIkSMfUpywzUtwQMTfOYPBADDnTCXdbhDEBGyXAYoVW8ikg9QOsii7dVL2eFsk1ydQdX63EHbJpFxUIuC42uJBTFlFgNZz8kSt9gOoIWO0k3FlfxlXbvkFQ2zK7EHiNAPF0MjQ8UTVIXdk3t+oBIWamUtt0Xljkxp4jNyCoLFyo59ru+NCSy5Sxicfw4lQJKQrHONVC5FeGQAooryLJsg8u5tiU2areZdIzEqD55ecXZwcmGZL+StmgdLv8UkdJ4z2MZIliydmQuJD6jmRgclGPuaA4o+SYuOb5DJSxXBGxdFn9aRwkR9IxjFsmyDRgUbZVWJO4qvIIu7Gpd/t44IY5Wj9SOTxIAo57rXAtlxg1miPvzrhoPUaQr5WLl4kEls5CAoQQzW5JL1kC58itQy9HMbQwg+pkiyO8RMhHBYKAEtfF1RJsXYFaCnQHDwBbXfpGcpVyUk0F80eQPmHjgWPOnXwt8RGLfJOqtguRCP9CMCPqCVLc88/bQP+FiRWlET4RyBBWbFLBP3YgUASf5hyNDDaqsyotBucqa8SF4BvwwyYEexBGi2qErsfTfS+px7mJZYmtT+4Pup+hGtwbZyX9QKcnJqie0cKLNflHivJOvAOm7t0fFZCtWD3NjbDHKgw5A5B/1R9NWzp3V23G7jdJHwSWFMbfxHgGsH5rALE1zzpHKuxuna5PTetQRLE0rop9FCUscKcaFfT2Gqr/hDxbGN82QumbkBSyO/cO1gQVNhGxrwD9dC9Z6285lh9LON5UW4wWkQEnJHA5BwFiv5T9Rdln6ltZUKt6qjxRTcJ54o9oNf20yyJOLhhlO3W68pKoDWCGUDG65u2Wr48H3++tRb7dRdqKuPse7kfXtPP66F+INzHFKsSMZUdQFc9pX7MaAJHjI/8tKTunHasppePav6GjY0lO6oB62rfcD299Vv4w6RCu3l3IVRJFHkhZmC5qxZBQ5ouxFDzlXvqly/EsW96Z6M83pbiJ0aJ/z5R9wZO4U2Ni7FEjVm+GviGDf7dtqWlDlCozI9RggAZ1mW1fyPPdyby86q1QsY9ysdQ6usmyj3DyF5nkaKY3RijUhqUoiubV14BJqV696sfxHvS/Snkf09wTGhT+HZlYIzYCUA3mVZgcSKJBBPnVN658NS7OHbKMXfbOZixjYM4Vg2fki1sRkeWAjv5BpEerzxqgil5x4jXFs3ZgPS9JfJBkN3fdmfmAGlLUmsYCtruXh2wdTLFJHuWbMoCpBUFWxdLEhMagNdc0QfOt734rn3SIHkeQlmjVOxh+IAotQoDseApNVya50u2CMVnjd7jaONnf1e0MrkgOWZQ95UQtmyAKJNcSdQIjk8oQzeVAUOSoBx8tIoGRZicS9+eW3yH4yND1hfTjSRRGVUoFAdmWaR5iWsyHO1KFgSaZiKXSnZloVnjdqXCwCynmw5agTZxSiRda52chZHU9tIG8HJgXTEkgc4kLRAF2ODqCWMRt+I62B8rEEsbalJDWoIC9x/n+lnW5wZvaO9vstxtw7ruhijBVgWSRlZ5EyCYJxkAWYkCrQ8g6wo7ONuu1EjHcSn1ZAyI8zWKrOqqqtsr8UTRAbpJ9XEhvQLkhowzAxqrFscmGQal5L2tHxfMkm43MqxL6zn1y0qxBSB6iWbDUAFGPzZEjEE8c6eDi1kzUrwPdj8HbhZA8sbYwIy9jI2ScoLUG/lJY/ZEAo+COpbRBIMExjIYYh8TCgkYWqlgRK5VlBsUFckkXpDD8V70EbV3c5Ni0ciq11+VieWQ+9tiQbNjQe4Mn4biIDGNV8XgFpmHaAaxYWPNNR50jafH5K1tfKb+RPLB686TFmb8UOAFohVVZJZZFWwi8pZVgRZON8Drd74Q+lFgWEEryAKoJSK8vJskG7YeL4J41NN0aXaSiJzHOkzgFQfxWQnGN8Caj7gD818LdUNCpHgscqxZwh5jlRyCjyshUWB4IDL7L48aFrsIrvOL8h2x2KSQTMv4ipKFU5CsVKyKqu1sGtnFsoVru78a2W5SKYhkctRkjGZUhzTQoyk2QlkEAg8tZPFD7Hp7vFxGkULqGEhoqzB2Z29RawVIlZcG8ZDwXGoOp7ZiJWZRapHJzioxkJKlRnTiqrHPx71esZulQVudqZNqkyEByzh1BW7XHtrhsx3GqquebLMJC8iGMo2MhXgliCB5yBAsEEMOL8gjRGz6o0W1FMGzlXI/KeY42rEMMyptcyGPBqhrIJ5hdyRoCWbmQfhRqSGYBbLp2hQTzkKI5s7bbyQynf4CY0eaKaSFpMckXvpiCR6khwX5QPUuhfggk+REJZYUijxJdS18HhixHN/7N83/TU3TJsCyZMLtgzks2ZVVLMoouQqmhxybF0LkChWZQrOWbtZO3mw2KyZZOVoeAFNe/nSWUqL7le3cLNI6+mWSwrM+V5oVEndfa2d/fu8V5d9W+ImklhEyMACS6JxiFHZgQvaqgquQ/Knn31Bvowq/hoGFBhGcmc5cBji/P8AtUSfrS0IP49TFSRnInJMGXIUlYkA2UkZ7K/rwKvVFkEXtuh3LupPxaiYYhDBeIwT0mRcUUlR2uSfqMC3NAqthvGbbGF8o2EqqXYglWkdmaw7KYipTJiLsE3Xza1tRMUjY3x7R3m7u/pvkvBaUNFdN5yBJ45yLpon3EvrPUKSepJlIBwQUBAUm3yUIWBPze2lwWW5q0dbgJBuzCIWklkDQ1atfqMBG8Ttfzg1X0f5jfDTqnR3hhhhnLxOEaT08R6eFsSoKg5PkVBp/BXtHDaVLvktZIY48omKxBo48WLSO6B4+RGUJZVYkEkjk1Wo99FLDnBm7kJyULvGWlcR1nXiolAb3oAVp6TJNtS7BA6oxDSSiV5YyrTFi+ca5dig1+GSOARiO43yNHdRd/Q3BQZmWnD+mFAZGQlRgSyquYKgHzbEnMDSr+GEMe6UoBI0vpFslXCIx3woLKYwVIPPPbZB8HEesXgeSPawWhxdlJZlxCYkgyFnCgF2NAAWSBjpaVjqToI226RVeVAxm3Kyqn4vfgiovAo1KJQVBagVJ88g66LDMduZAEkLsEcFvliUYJEMTiHBLDv9ifPsH1/p8yiIDamMq0ah2ezkVyUEAlUvhrSxRQGtEbbpMke5l24LkGYHllpiQDZINg5V9Rx+p0G8GwshvQ+jzIZmdWVkkJjGB9OyrKe2OzQlKsKIBw9stcdM7dxLNvIFmMmd+IwJKVlIYkUmClKsnleDzY0u5dtwUujwoOR4I9mNVRo+9EVwfGtP1VzKec1UgICQeSSKx5BvJua8AXqe51wS5yWLbdM20uxsi5ZVOLqlViBHI5KjFQGPCWcsTWV8GfAsmz2m1IaCU7ko8pDRysoUlggEigqiEALkaP1rVe6d0x5dvLEajEKN6ZIyLS5CUluCVBBKkKfN2CfLfY9WWOJF3cjrlC0XYbUGalNohIIA58Gslrw2mTxRXbi+5L8Kdei29fh+u0XqEPGRkECBRmWrEhB3fN49rrXqHw/1htzF6hheKzwH4JFC/PNhuKIFVrwfcbNTPJu0iKwLuDgoZUiaJXkhAjwBYmgbAI+U88jXo/wx8RxQbYgTbg+ngrRywtcRLBMQS2PDHxkWo82dUS7EZ+73Fz6xskkWmiEn6mjV+QfY++vOupdKi9V+2OTuIB9QqQB24kChfF/73nXprspJU/MBZH2Ni/64n9tVXrOy2iy1Lt0LUO4tCMvvTSK3m+SPIOiSR4MFIsqHCigSfIv7gUPBoeRXvWj9t8SttZ1mgxQqGIS+ACAPT7vmDHnj3JPGod9vFlQTGHEs7kCOZFjBUDJjFgWUG7ALi744GlrgSLYP6H/iDXNEfT66PJTc48HoXxP8aQbzp8C8zP6mLZCSL8YAY1TUeGYiy3yi6JB0kbr5VoY3CF9uJQk0ULM0fcFWQ18xuOgQFPPd918kjKtUpR5FkVY7HabRXWOjgO9qUjI2SQaB0qXdvllmbyVkYuMUbIvZJ4u7NHm+a50uClYJd1EzlWCMCUUKSxESswJlJJsUBldMAMWJ8Ea0kKOm2FpiqyWFR2IKuSZXAFtnWI8UAAaAvRjbkOmMsglp7R5GtVC2XkZRbMXNWCCTiSCb1x0d1dhjElorFlAILkuZAkar3M1DAZE/MOKAo8mqgjZbXFHWZvRLYBMyoYD1M1DQ8MgbBBmRiASb7joHdRRRuwKKrOe8yBmCqwHKqnPcCSLo8g8cEHKjs0800fC0DFI3LSp6eTfQjgsw8AuF8eB5ZMpWAVGtpFRqpWSTIZKuOUhUENlfAVQANI0FpMY7uZJPUj24/DZhkjKVhXHErIbjDBiqUQS3nk0L1N1jf7fcPFBstv2Ia/GYgEBLJJLkYFQ1NxzXHjSibbJHeLBgSy5Mvc6+CVyFRoGAa2I7X82DrPiDY/wsyII5FZUOT5G2PNDgUhRGUEDn6862nFRVIE8dwrr25iVI5BGwf8KSVCmA5DRlQW5xKrSsooA+55C3cTKk8aMzosRxZkbvViS0rA15VmK8DkRjXXQukrLuNuMi3Kvl5XGNe5SCMvnVUHtXjWtltLkVcmeR2ckEcGkLEE5d7B1XHjzfngavpTUHdCyTk7C+oSYRZlEdKEaqwbJQbbNCGFHFK98cqGmvTJWi3LelNHHGUkEiRqWWNQiyylchXpEqO6zytV4qmbhmztuPSoU9mypJrkVXFY/oPHh9s2PqBiEaOOJ56j9PhXjzKm/mZTS4t+WPxR52pKLVRVDwbk7ZDt9z6m8R5hn6gNkLw0sgIEjAnvNOG9i1AcHRu9LCKFSyvhGHDkXUbdvgjjlWpRfnkjwBR1JnjaCS3W1YkjFjS/iU0g7GCA+aFr4PFm7LdwyHdOUKQpCWEauTiz5IkIYqcVJIBIq8BYIvUJWGDTdeQKPqZC2yBkZ5FIwjAWV0Xuyq/JF2OQK9zrIpGMdwsjy5qwqKse4Dz6dLbkgWRwb4JIEHSzI0QCqSgaRmvCs/TpgMgb/Dw4otdlRYvR0MLQzOqUU7mB4A5ziT5+00Hb5uOTfm9M8CJJp2FdH6iTvvTkYMxcDPkWWpTdMGHJBWjd1q09X3wVU4BF3Ry+QGkVvm44eyQL48aofQZfU6mjysopnlLeEGAaayAe1Rjdc1QFaum/iLz/iYsywIpYYm2ZmcscRichi3HBux7HXR6fRepJRic+rqrTi2+CHb7yBlknSGEOGjRioWnckl0y9MYlrHnEGuMTwYBJs1cjBQ3qOnpxyqssZFjgqykg0RVE80wHuUnS4sWBQdwAYC6YLVX9QK4+mhZvhbbMb9Ojd8O45+vDedeg/hur5X/fY4f/R0vD/H+zsdB2n8MqlGJeRO5JSQGrEBo/WLIB8tk0KscDkkbJHftMgdO1UJUxAHuyTKMqW7iRWVlvm+o7fDsQVVIYorZhC7Ylv5jRsnk83fJ+uoofheONSA8hDckMVIujz8v3v+n0sFH8O1fC/kePxHSXDZPtemR+hHGZGAdmtW8vJyQGbBfUClTiDXF8EAa5g+H5Iish3jGRZXMZdUOLgqkiP+JbKQQKSvP1JGotp8O4Mv/wAiZwpBxdrU+ODVErQqiaon66edXVZlK2y3K0hKt3d3lDkpBW1Uih7DSP4drJfp/I8fiGk3+r8CSDpmSzhhC80rOLJwj9PnsURsQFsEglhwa4I1INqZduqYhJY3ctiJcZFkUrI5DoMpTi3y3QYmqJ1Ns9jIiLGZRQVvlQYlryDY/lOXJo0fp4qJtruGhNlGdQFU+wClSinFQQoK/Uk39qM36LVX+DKr1ulzvX8E3xLsJWaOWNIpFJje7wLPaqRID5sqI/via5PPLdHlk3SyM5hGLMpAQk0R2rywaw3d54sVzzztJZ1LGSCJyVGJWRkUPVElBwynk+1cfroqVyVSsmtLdCTiHLC+bN0CaNeODdnU36PU/a/4GXrIfuQm2HTrXCSCUD55CA5PzdguzmxHNZcf00Ft9mUBwj3CU7LbxRX3tipNhZKojmyASKJrTv8AiiYijRNyaCmMMoWzxQGPIo/a/tem/wDErOtq+KqjWXullyJVytKVxIGQ9wV96OoPQkrw19UP1VLhoq0U3orGyIjKvm7IfiyzBTyxUXkbr28ak6/Cu9RBA0duEDxrKva1hmKxyOGKLkR7WQfHnQXVYp9ssa+m6SS2zIw5YBn9MWLsnvIBI96sc6nh6pHAU9WF0kx7sVjCk3xTC7NWTfNjyfGoK4rgdMcz9LgjgjSKbBdvI2UcrKpllq8mZW5bEcUTxx4ABWdD3EwA9NnUyTc8qWkjbM0vaxDjFiQeBjfFkaD6tP6qkKjCNznZJwLd3dRNFqUi/PafpovqvWoY+nbX0dsU3CAEv6dRDEY+oFf5ybDWAQG+b7tHPI++uOx6l/6d/Eke6gcgsJRQKyGzgsaohDUAysFL2Pdzq1yS2e0Iw+t+/wBPl18+fCO33Jgk3EcYdlBKRnIiUO/eQoN4Eqcl8NRrkAj2zpe93fpKZYtuXIu45ziQfFBo7HFe5/XTquCMk+fJ4J8MdVj/AIXfwS0C+BiHIJezERV8ghuQTxZPtpeqGONVMbiNcrfHt9RiATmBTfKFq+DxrNZoXkqv02S7a/XDOwAWN1piwAbFlHyc2S1G/IyvXG224JMqGjt2iYljTv5dyrY/MDyDVBTZPFnNZpmHTVqn8wbpcPqTg0UiRnlNUzBF5x7j7CgSxrzZ0yXbxYeunDqLTEItguO9kFYVTIAoJJVjdVres0rYYpIYdWtdvEko9OVoJZIk7SXhljYLeAJSS40emoFW/mGq3toiyukjC1jXDzQSQmRms1iCvbdG/UUe+s1mmqhYtyZNJL62cjSFnLIRyQwsMMAxFhFA5a/GIA1x1Dd+o/agVAvyqpKgjmRgPC2RZxoUAPbWazQCMOk7DJdyWN+qoRfymR2UbmgaNfIL8JRBPtqP4a3cyLM4iWWBBciOFIxelYgHy2K1+g+us1mj3BeLOpdyajaKFfSgObo5IjYq5EbuxI9Ru70qHP4ZBu9DdY3RO4meIs8bKY/UHi2F9zAYk+f1A1rWa1CqVjPrceDJGsoaMsIczF6bmM4jI4t3x9zCiQ3t4OuOudbwdTFDDtWdSjekArhclNlQPwWIquSaJsnWtZovmhmtqtBvSPhn+HA3O5aAxY2AwZ5MziFBVSMTbEFrYDA8XzoXfTn1lMcZWM0I1JByQOyHF3sOeQbPF37DnNZpHyUS9oX8PdPEE0sk6ZhID6i2i8TMgILf5asEZrHjiq8jVgVV9afEswV1TJjy3pxol/Y0OR9b1ms16Xw/+6vueV65/wBJ/Y6La2XPvrNZr6JHgvgxZiDfuPGuktiB9dZrNOkTbJZF54FDWpP7VrNZpuwq5IJJhXg3ruGTgk3X0vz/ANtZrNTZZPPBz65PHv8AU6kgBIJ+n/n76zWa10ZK2cSxZWCSD7MDzWu9i5jcV8osMAeCpFe/F/rrNZoamnHUg1LwGGpLTmtvkB+L9hGIxMMh/lBpInIX5SsbleV8MyeDWV//AGEijptjKkkjySEIGJIid0D84qz3UeYHnn9ONZrNfHyj7j6mGcEG2mkDRy8MIqVQfGIYtiQtZAljdnmzd6fwfGQEhk9H12nVoiJyGxLNXYVALL3UQQLHH31ms0haqWPBY+mx+ohT+GCSze8bCPbsYVuyGQYRY5GrHhio8k9y/DW6kCeru1/DQIgiZsBGvygNGAHAJPcbP18azWam5OOUWj7nTP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9" name="AutoShape 12" descr="data:image/jpeg;base64,/9j/4AAQSkZJRgABAQAAAQABAAD/2wCEAAkGBhQSEBQUExMWFRUVFRgaGBgXFhoeFxoXGhkbFxoYHxgcHDIeGBkjGxgeHy8gIycpLSwvGB8yNjIqNiYtLCoBCQoKDgwOGg8PGi8kHyUsKSwpLCwsLCwqLCwsLCwsLCwsLCwsLCwsLCwsLCwpLCwsLCwsLCwsLCwpLCwsLCwsLP/AABEIAKgBLAMBIgACEQEDEQH/xAAcAAACAgMBAQAAAAAAAAAAAAAEBQMGAAECBwj/xAA/EAACAgEDAwIEBAQCCQUAAwABAgMREgAEIQUiMRNBBjJRYSNCcZEUUoGhFTNTYnKCscHR4fAHFiRD8WNzsv/EABoBAAMBAQEBAAAAAAAAAAAAAAECAwAEBQb/xAAuEQACAgEDAwIFAwUBAAAAAAAAAQIRIQMSMRNBUQQiBWFxgaEyUpEjM0LR8BX/2gAMAwEAAhEDEQA/APTxreuc9Znrus4aOtZrnPWZa1mo6rWVrnPWZ61mo6rWtc56zPRsO03WsrXOetepzrWaiUPrPU1HnrRbQwNklz1sHUGesz0KDZNnrRbUOes9TQoNkutYjUfqa0W1sgJeNby1EG1megwo7L6jMut3pZ1WckBEJzLDwa8FbF/odBtIKyHPJqJn1R91NKvP8S/kihI1+/t9ARWmfw91tR6gll/MAob2AHPtwP10LHofTtxpN1hzhXNZD3seL40x3O/DBSrAg3z7HVf6vugPOI5Py37Cufprn1E2ysHRB0Nb3Uf2yb9lP/XV19Q6qnw3F3LKObLJ4aqADEilNmlPF39tN95upAeMlGfP4RrEFwRkTwDh83nuGjCaiqZpR3O0NQ51mWqTvuvTKHCyOCIyQQmQyJEakn2pmBr3rXW867KudO5xikY0gY9qkjz47q/U0NP1UL02XO9Zqi7rdM7wh2LEfNwT2imfgEAcA8nx7aBhndUgYM4lcKAQHbkj2iLVxfg+NbqA6bPRDz9TqTbpftz7cf8ALVFl+I5gjuJWoyOF7fy5lV7a54H9ddp8R7iPNjKwKIgsoF7sAzHEggctX9NHqYB0y8bi1UsylQOSxHsOdJx1qBiAJFJJqvezqsr8S7icKsk5dWSRmX0wnaWEaDwLFpJz75fTS/a7weUK36qKhCE0Rk7HPwTin9Mh9tCOpRpadnoQW/GuaHvf7aru038rSKuZq+eB48/TToufrq6lZFxoUjrMv87fudZ/jEv87fvoQqv1P7f99Zx/4dWs5NzC/wDFpf52/fWv8Wl/nb9zobiuP+f/AE10v/nGsbcyf/Fpf9I37nWz1OX/AEjfudCmRR7/APDWerfgX/XWBuYT/icv+kb9zrP8Sl/nb9zodSx9q116TfXQNuZOOpy/6Rv31v8AxOX/AEjfvqD0T9dbCH/81jbmFL1J/d3/AHB/trn/ABGX/St/5/XUSbNjqZNl9ToWbczX+JS/6Q66/wATk/0jf21MuyX3BOpY9jfhf7aXcg3IGHUpf52/tqVeoyV8zX/TR8XS74ofsf8AkNF/4RiOSv6ENf8A/m9K5odKQqG6lPuf7f8ATU8Jmb83/D/pouRlS+5bAugoJr9DrJurqg7nUeDQHJ8kcKLPANaR6hVRkztNlLV+p/Sv+uu1Wvmka/YAeT9PGg//AHRAcR3MSRQC1ZNFQcyBz/T76HHV2MsiRgPHVEhEUEEmlXnnLIfN4rnybm5t8HRHS/cNttOr+7eavG7P0HP20t/EaV/TicLGSQ7ISS1A0ADybH19h4vRkvWpMBjzcYAPBCkAksFwojIY+/t7aE3PxNIIo4y6lpFAD+qis1i+OKDVXND5hXPhHKy+xIUdW6bIioDChdaIYXkRdnJb5u+fP9tAnee8qqMSOwg/JzlRsEefYef00/XdbgyZCTGRSkOJlyUue7vNAKxQBuKsMCK4Jd7D4fIUJKIzEQ5apHMgcmzUhrsoV/XSbmHakUs9eLRx4JGtKcxTcEWbsLXP09qPOlHWt9k1dpPd8pU+T/qk/wB6Or31b4eSIB4ZsXxJQZVkByeSe+rFj76qm7k3BYmTI/UqiK3HsH9OxRH/AB0N1A22HfD3T/w4lkQglXsGPnFiyj/678SDjKh71oqbftXGQDoS1xuoIIVgLvEG5Tx5NN/KdJl69HGKeOZyBeRxkOYYPTWAw7lWjZrjwBrn+Niz7KGMKqowZDiZD+UnGqjThRY4s9wGlu8jJVgAnGUrGvLwpffQFtM3I7R/lj9xf0I+9fOaSiOFjTkt+eVSeBxeCNR/760z2wsEfiSsSM7FIqJfGIv1GofY+44gi2hTtlWVWMgNNkpIVHAsMBwfUP619tOZk3VpVaR7I7YXA5aspSIBwv8A/b5131GdRLFZ7Yg0h7iP8pTILrzyv6aWbeQh8KIzkiA7jfaS1Ae9uEFasG0+At+8kn4TIGTENJIighpELcAlvkBHIHn9sZindxD09vBdZGND3H3oHn5j58+db3u7B27MpJ9aRmWjZPqOSoF/YgAf0Grts/8A0vdWWSWdc1s3ZCiwRWOIJAvyHF17al3PwPAkSh9zMqqAp/hYyrEWBWRzmr64sOLvTInZTQrRh1c90ccafOG+WMMxPupzZuDXgag6Oe2O3J4kkILggZsIl49uImP+8dXuH4K6TtCCYTZB5llkYEe9jLH+2nW2i2rRlYEiAWl/CRBiV5xscgi/H31qNZ5t1HdyxJmgdfqy5ChX8w8A1rafFe6of/HPIv8AypOR9dWmLqe4V8GCOxDUzHt7Sq8sq9oJewCLpGJ8Xo+DrsxsGACjVidMTwDYyo1zXIHIOqZ7Mk6fYrQQV7frraD6G9No9ov0r+mpl23+rx9a107jzRONqT7H99SfwJ+n76Zkr9f212P00NwBbHsP/K1Muy/8rRwiv8xGpPTUef7/APc6G4NC70K12Nmx8D99MA4Hj+2tGcD/AL624NAqdNPvWpl2QHvrZ3A+v7DWhuSTwvH1P/TQsOCRNsPf/wA+mpPSXXHqhjV1XJUcfUDzzXB/bUsZA0ljGomU8BTwffRMUxU8Af11rbRlrth54oHx/wBdMdp0cH8xqz7f1vStlYxb4AN51JwjNkRSk8ceBf2+n11Xd98VIAxRizGscqAJ4sgfMfNfqPvzY/i7py/w2I/nQtzziDzx7nmxfuBqjHpLKmDyI8lIzY2AqsoJcXf5QBX0x45NRlPODu0tGNXIi3HUZJGBDHLAjj2UAkg15N354HnU0m4yA9OIytHTSIfAUBD2kn2Yn7gHz41xt9iwZC1sFyzVrLKoJS29zYxb2r9edA9b6qPT9NFDEf5jAWKPgAkVwoy/ViB7abS097t8Lkrq6iglGKy+Bu9vI8e277QqWN4pxkTTElT2lQB51Jt+ott1WqHpgBmkNhghAON3QyrgAVR+1J+lbv0FpoFFtTKXtWS6Vr/LICx55uvqNM32LAZmUIj0CrPdLYtMFFg4k3S/YnSyneFwNGGblyWBJi7gzuIs1KNx4s8eeDYy82RXkaA+It3DEsTRiKR45UlpiK5UhEq8rqieOOONB7qHBg24f1UclVMYGRZQxTOMXQAUm65HkeRrvq/RYVRV26uVWNuOW7gitWQ/lZxkPfyfB0kngLirqw7oHWQcJvSFygk93B9P1LaNWNfmxs1yovTodXikhkdnEhvBVCmwWtVIWuQzWQxFfpzrzxNvPFucZSqQnPC5F9MlUVXAdgvulkcAYjzwdPU6Tutqcty6SpKAkeMb130wX8MYggISC3F0L0sXboVpVZdd103bNkWxOBGTOeA2NA2eMq8j78+dRbTpykI6qrKQC3cCwLXlRHvyPFDg6856A8IkMMhLKwUj1PZiMglnzVceaP8ATV66Jto0nQKwB5NBvYX9+RZ8aarQltCL4j6QnLRgurMRiEKspBORNDkXzf0x/XVe3XTJArExlsPygH1PNAVVjm7B+l/S/VfiPZJLEuURmCMJAqsAS6kY8/Xmx7duhN/08SUscBUqxt+0Hniw93Xk/wBRxpZKsjrJ5DuZWdGADq5awe0eLHJvz8v99GtuDKg9WMFlrJ+TkzEAeAcB54HkD60NXLr3wdizEeo/vmqgUPuAbc/UgA6UD4aVwKkWzVUwNEGzYqwKBN1rOUkakKR1ASbpIpNtIgy9NXKtIlMTVA2RZoHjj9ORdfQ28s0SbZdxAWdTnC0ixUp9RkZcgqsfB7SeaOq1telHNXTck+m/ivcc8XxX3+/jTX4Y3A2USoxWZxLI7yF1B7gAFv6AVx/q6MWJK2WqbpMwkdk9Nkw7FYMXLBfDNkKBP2Ogx1TcRtT7L8ygGOQH5uLplFAHzzrW6+PUWPIgJxdZqeAa/Kftx4/XVa6r8ZTfwzzq0Yj8gE2zEyIlYKbQGye7kBW8jnVExKLfu+vRqAJc4siVyZLCnBnuwSAAqk8/TS/dpuVkpFSRSwonKPisibOV8fQeSB9aR/BPxIN5OqyQsPVuiguH8MFqYs1hyCfAqgBr1E6zb7BVd0UaPcTlmB28hxCm0dGQk5DEFipJGPPHuNO4vhrNQzyzIxAJVWUBftQHtpyYV44HB+mqr1j4tmg3EkbCJFBHpl+WdCikvw4oZ5rRH5b99NbaE25YjMwP5v2Ouowfqf3/AO+u02g+p1J6Z9gdXPKo3HCPcgakX0x5cGz9H4/YajG1vz/x1PHtvYDn99axkSwrB25P5v2YHjz7ke49tbk9JOfTXEmhkXs/fyNRQuAa9Mv/AL1f8tE76JJACY1Rqq1bnjxfHOptlVlYOoeowgikBI/1aH6nuPGgNwXkPexq+F9h+wA1NBGFUDk0PNCz9zXF66L631M8qmDLAB7f21jCh513/Fgsy5C1xse4y+X99Y0YJB54v9KPm/2/to2I0RKx/XUsTtfGpodoxIuh3G+DyOaH6+D/AEOiIZFjVhYaRb4vnwXAr2OP20rkkVhoykF7PasR3MaYciz4+p+2hd78WGIyn02kCggYcm0ieZrHAFhQAbqyB71qp/EPxDLnIUfAY4cA5BopmHHI7csrNj8gvuF8R9ZznWdQzYRkypQVSPx0XFiQrGnRTZ4pOdRc7PRhoqKHsfV1LSrMyhHACE85PWJGC8gZKDRqy3Gqxv8AbAOsmK04xLBu4lA0TBlN5JSrV2T47SNID1OJZVaN5W26SgiF4lcoFPcUnkk9UOcWa+AMjxWh9x1hpS04UpGTimTH1aByJIHaoLm/N8WBxpNrb5LRlFYLT8M7YEzSRljLOJFdWshsgXUeT3DwScapq86i6dINwJVJCYSxoKFM7G+wBe7tUk3XGZrxpZ6LwDEgUwHg8AMHBkkH53ZgW8BRwKqxqTpu33ErSKWyzEZDiyplVGcs4uwAGBBHHK8k86Ltu2Uwlxz+CN+mZVzShsVy7i3qfnI8AcAggm/W+miR0thHEyP6kfqiORcLbKQBVPiqBDZck2fA131/4Y3EEIznhYjwkUb5KwQ4qH4NdoX6DLwebTwTNGDHGzAsGaQnub2fxxXK2PJ81lofVFJxiq2yvzhjBOsSRoY3i5YoQceAoNI2dcEEk+3zkX5OmfR+vOIyodGzGbBRYyZWUlSo8UIi3dxbV5pVPT0YKTkVRWNCzi8ZAkb/AFfOKlQODlRuiO9rLE7qjYkAWvLKvFLQxOI7R4rjitK5pEmk78B8vTzv4kaay0Em4Y80DE0ocAYijz2L55H30/2iRwNBtm9IIUPOUvrGY40Q9GPEkntAr9KrSDp3UYlcAxRrCqkExRWrElZArY/5ZBAIY2DyTV6n6pIWYNI8SsncFBQhhHk1lzRRfAzF0L+h0YZW6/sTks0l9y2QfD01IwjVQoqWNmuQMaYEMrY0FNEff7DVe3fTt4cQFMbqMWPaQWCg5AZd0ZPA8HtP1BOT/GssPqHbSoxd8mz7rxiwBX/WIiXiwOH9/MvwR8fHc22+VQzv6alExVQFRwWtr7vU8/Sv11RxQm9qrOOn9N3+3libONkYrmMzlRVQz8ikxYZBRd0eedHx7o7zcSLUsEoRlSVouMVYgMrFaosVOJHP3AOrtuNtHRBFcUD/AGFfeyK1VOh9K/gIu9jIzNEAjOcY1oGUqCaCqWIsV4Ue3Kbc4KKSabfImmnaHcXOyzN6YQrCmKqWOLE/ijvOZqvlBHmtNukRxfg4rIkjumJkIza1f1CwBrwhb/f+ngWfouzO9km/jJYzEQf83sVitt3EH8pUVY8nydQ9c+KfRlRoQrKA5DjEh2urZlGYYAlOasH6WdIlV7mByvgYfE/pbeAGeQRZmlwUEMWNkBOCW9z+hOvK54c5bjlJFcXaknx4uh7f99WCTrn8SdrBk0ywmNRGzqDI6Kq5B2qiSDyTzlqvQdOka5YxG699wMSSUzeuCKxCEe55vjQw+APJYI+noI1tiWAo0gAseADZ/c6FPREYkEsC30Pn9vHJ86D3/VnYG6X/AGCCAAOPH09h9tQ9I6s0YExlBGJAUk52bNkVXHH99LkGCwxbGbaRyRQP6Ydy7c4vdKpAf8opKsUeTR0w+Bet7oNHJJuHeF1ZysickAcAOSAGY40Ca83WlMXxGJIWBW2YKquG8FjjyPJq7ONa5XfPCtxvWC9qnjwOAftwBzxprBSZ630br/8AEyNgn4a5DO1YFlYqQCprmuP0OmkuyRzbIrH6lQT/AH14x0z4xZFSJZ3GCgVdWAPm+/1/rpjuf/ULfIcYsZFr5nxu/fyQf7adaqF2lkRTrpiF8n+mhdl8RPLGrxKqK6gjsphfsfuPGsWE+WOuqzymicbxfZcv1/7aPfqbkARqsX1Nc/0FV+96XgAeK1HHugzOlm0xvg13CwR9R5H9DofUaLaNb53RbQeo+a3ZrtLDM8e+N0PrWpX3IAJ8Ackn2A8knWpGABJPABJ/QcnWlcMvFMGH1sEH/iNYxqfdYLk142Lr2sgWfsLsn6aW9d3xwVUPD3bh1AVQVWTk+4RmPj8uiN1ljHgbT1Aj13ELRQ1Rvtar9xX20N0rpJdcZSykGUEAgq4kAbMEDsIcmrAPHjkaVyLQh3DpOkmRTzTHEZAUaDA0f6X++nKdMUowdqUjGxZ5bt8VzydAdT352sMbUCPWhjZmulRnCsx+vHv7XftqrDrU8kMzQRBwjrgLLd08gmBBschlUCyB3i6qyjkdGnoXyHzT7hY5TGVcxbqoiXoFXhCcjkkLLIbBB8E/TUHTmlUuoYTToWd3LIcCoVAoQlSB6c5b/dFnmtRdOjlj2k8U/YryRIkfBYAiM5JjRYeLAPs3gjQHT94E3jCZgkKqCeQSzSbeNCcBeBpx5+vAvwp11SYftFkaRYSYyFk3GS2rXHKySqxIFEF45VoeAV+41Nuumw7dM2IgEkckHaQDi5APaSo7WGV88XojbfG8EUasE/GCJE9lRkkbNh3FgoJyJAJABaiR5K7fdH/i/UZD6hYGVVZpBaSDJSikFEJwuuO6x7HQajy1kyTbKn1CKSCVl/h2oeFLoRQGRc+ymvr48+DoAdXcl5fSjdTlIVMoDKgUMBRWyMSAKuyrV4Oj9wsksrq1qVFsK/OmBwVUB7balJBAo34vXG8gWR2yXOmxkBAuwo5LDi2YO3B+nFadSN0reCfpOxkzUzGJU4kdvUJHpu1NZw7GUd3PsQfY6ZpvdsriTbGRGVwsIc2tFsG7o7BHpgAZcg2OPGk525uEkWFvsAt+blbGNVrEl2pauybJFASbaaL8FZS4RRHGpyHaMlXL5eALYVzdqdK7aG09unJOQDud80m9BcBzmFoEFGsgAWSBiTQs1X9NN/SC+ukZV2OdJahiloF+WiT3MR7UAOa0qnhj20skkczPJtnZ0VomCu0UmPnwyhuDj99Ptr/6rPNtJVmgHqlGUYFgCxzU8UcSKFcm78jSw05JHV631UNWacPAJ/iMUm4U4EFlUZDIIWMjqvN2qqfAHFA83pLueqNj2k0z/h2gyGLANkxBL2jEAgg2DfNab7DYRNGHMuSh6sIwuvSLAdh7yXontN1wfebZ9MO6MKw4k5YRiRbCssPrHkLweLGRN3fHJ0O+TiK/N1YF5vxWxKgqrKaaTnziK7QBVg3fnjR3SN8Wj9SzmTjS2EFHuQgKeDHjYBPzACrJFzb4J2W0hD7vbszmJmOEsgJdcbQKZAuRJ9uONdSfBKTuDt849qSEApi6MpcyMQ1mmyAsHjEfpp6VUjRk07fAjWOFAuSMQRiWsFWXJCuSNQADSsxa+Bfmq0z6K6lZY5EU2E/GxXIMFMjkgg+a9MccYgcedLd506dGo16eMiqO0jtYQIWNUmagNdcWASC2m3UumJHtTLHTeiuGamRVLg3eD2ZKNuWBtjzQA0sU+Cs3GsZHvwt1YOJBJK1wenSuxA4SOQ815BKobHmMn3J0l631R0SMNIw3A255BZ6xaR3a8QMHCgZGuCboA6D2MsX4PcI1jnWR3JUjEUkUbOxBWMBODYs2fc6L6z0KVix4CCFRnlG2WaIHk/8A5CAhYfdv66z4onyyq7naGS4lQBpvT5DCyy2oUm/Jri+fb31AkjplEtPk/hCwINefHsLF8Hz9tWmHaFuobSJz6bTGRo1QFXjj9OULYPK2ic/cEe2g22rKQ6PEyhmZh5dI8QaFLQLWzMTbfKCOdIos21CjZdPUZSq3KNZWqxAkeiT+a8bGPi+dHRbVGWMqXJl8L8pXH8M5kfdCPHkH66j6RvjHCzo8YWRochJ8+JYOVC0aQmyTx+hvTPf9WikneTcOkMjoCgZ6C2BVUBlS+3Fk6bamgJ1yJtz0VQ+WLBak5BDHJVJAoXQ+Uk14NDm6StgxBCYHFQ1tkPUru4Hy2bNNzyPGnu3M00jpEnrDkMQoZSCMvJ4YnzV2a8EaGUyRMXl283IKC4S0Q59saxNjmvp+wg8ZRpU+CpQ9SIla3IX2H3J+/ihr0Dp8oGwkidFZpSjBjIRQA4BFUTTH3I7h9NVH/wBoktykZB9/UcH9KP8A1026rIR3t2UVFA5DiiTZN3QBrxwBrTkuYiJMhfYytkyJGyJ5F2QKFCuP/PbXWy2HU5wz7fZsY8iAQkZFjg0ZBZH6Ei7970J0lX9WUqWIe6LEg0fHvxxr2D4f6nHBtoo1kelUfQ19R41ya+u9FWo2V0nK/a6NQQBRSih9tc73demmdFgGXKvIUkKW/wB28j9gda6XI/op6wqXEZ1RGQ8kH6e/jRLNftr1rPF7mWNRk91+5Fft/wDupEgvzoiPaj2s/wDD9tKFIWbsuXjTEtHKWSQgWEtGZSa/KcSv6sv1002HRvTRVzJCqFFkk0BQsnm69yb0SNuv0Gku628pn3aAyAPt0eJsSYwxLK6eMbOK8E8Bj4uyC8YqsnUfQD6LWfxfUjLMPMgidVV7AAzaJQW482PAFWKRo0jaQmlUFjwfAFnirJr2A1WJN8Y22UskqLhC38SGfHj0siQnuSyXj7BSR41V+ufHDPI0sJlSCTbKzWFrFlHgWGDh3C2GI5aufCnVGLYy+Netod2kaXxE6A5j0z6iKUYAeTmyfMPC2OL0n+DviFFkWJw0pzPqYl1yxvFaJCZAgAZEGkJu24T9Xm9ZtqfT9IvtWQAsFcTJlHFkZAClMqFSWr2Hitbn6NI8O5waNDDIHY5sZCuHpSsGUlsFZSW8iyTdVal6pUGbrrrb2KYsoilR45qYFhUivEqKx/IAUJJyBZbx5ICHedRkWZg7ktjeQILepTFOCKK5gMaAsi7vnUhT0jMzELUDiP1Q47ezFY6Fepmh+QkVldUdddZRo5FvuCfNkSRLEFr1fxK8hfHHlqsFSRT3WuBk0o/Mzbz1HIwjtlVc1VWR1LteAAr8MuxITg8VZ1YOn/EboSVeRSpCo4BNxmTJqWrdQ1D/AHQKpq1UJdw4zU4liM3BQePw3plbsKqysQKK8tiFB5Z9PkJDSPkWwc3HRN4t6eZemkfIljbse7trwC8BXuwWDrPSz/Hum22ob1GJZ1rLFir5AepWGZyPtf01L8L/AA+snqmWRgYPRzCkBs8EtjSmzbNyTZKkke+q6vW5YgQrGP0oiqqDUoDDJFIFAMvoqSVskHg2ObbD1fdepP8Aw6tNCLLUCxkIABKNd3jkL92APubMavIs/asB3XtjAJlhykWX0gy4oXdTK6xZX8qq2A8/Q+5APkvU5n9QKiyFVN0DTWhAJy57sqN+3HA516b8X9PlZ4p1FsFGaLVn0Czx2GUH5mDFfluMc3zqqfF3w9LuI7hVXG3GUvdyWkPzKoNdqim4BpAea4MX2FnwmKJeiuV9T8QXC7HvuR2CNK134BKmx54PGhtk3B9RJBkKIWrC2AGGRrI4P5+/sdQs+7iQxpNlEwaMsh/DoqS4tlDBcWJJqq9+Nc9I+JHhVYmClAaBxBZRbMKNiwGkc8/zn24074JxlUrGPTN086MqcHKBVDX6ad5BZ2IpVOCWzWTVEnwbF8N/EkcE0Qdcyh9QyKWpWZBC0oWPiUsGK4jwEFZG9Vb4f6gzMIZZWSIuC6gnE4AlSQBbKDdj73550w6P1l52ZSMUaNsmIY0a7Bjl3U35j8wNHk8o1WSikpYZ7Xvkg3xUeorNt5gOLwMnBMZPIY9oteSOLA0D0zrboJLhDom5SIPTMXZ2HeAOKOZxcCj22RyR5p03dBZ7iZizOxshAnrrI8tCzQDAIC8bCgvuLOitv8Qgu5bAhJ/VUSAAGcJ8pPCRuokrkVYNCxwg+3sy8ybs/wAdCcysSybhGOR5czLuMaAo8Ko8jHE/prnqI28kqQo7VMrSsJCTSxth2gg9xYEUK4LEcAjVTj3AZMXixkO3LmRhciupjODWAz4DgVxcrXRFnmHf97bpQ0W4jkqKgCJAMm9Jq4h7COOB+JRBsHTKnyJtayh3/wCnkG2bayvuWS5JJSVJqMRx/hkUTTiwxyq6Kg+Bq/8ATo4/4YCB8kC9pBLUCMgODY4I4sHnXms3WjJstjCXSJZUHqNlGHMzcucSKHcxoe5YkihqxfC8kxhlWKmhfPBmKmgYkSIqq45IMKIyWyW54Fo6WQ7Wyv8Aw503cPM27khIsSCIvMQ+BXLMee3uKnwafi71Inw4rg1IYpppWjWMsuILLnI6j8i/mx4N+RZ1YW+G551haaOFJAHWQWGRFLGii4m3KKoyJtQ8lHnS3qHRpEG32rwxS7eFo7L2fWW7d3HPNjIgAksa8aW48Io3KTtiLc/BaySkLNDHIqk/w54d8LS1Jk7eFs9oAsDjSjqm1WSWRD8ykdp+pNcMPp4u64OrbL13c7qKPe9Pizji3EpxoKX/AA2jFlmAESg0eLtAa1fJkh3O19aVBXpljwMlxBsBhdEG/BrTtWQPGJNq0FvG4j9PuFOMhgMSavuNg+x4OrB0vf7ncuI19KVQKYOny2Ls0PPvq19K+HpYURpVWRCciMjSZ9xLLib5PLDwNFQ/DEaGOYIcgxPabA5Iv61Q8eNLWDWU5Pg3cAlWRHW/mBpq/Q/8NI5unIGCgkOxVxmeCoAKsB7CqHj7eeNeo9S2ySxyCJ2DtS9rV5IBPJo0CTQ+/vrzv462bOzvH2x2YgxvjABvp4yFUDyV+ulkqyg3YQ3w6VQOSoJFgCgCPY3oKuBbYmjwWA8Ej6/bQnRdg27VL9VSkeC3mvcS1sGUUQt/Kf5vfU8G43aAqXmSiaUJlQ9ucPNckfUnWjHuxWy7xrfvotEGounSRyIrobUj+o+xBFqw9wRY0eq66jzVExFH01J48D9tYkZPgaG6l1yLbNGJQfxA2JAGNgEhTzdsQFAANlgPOg2WhCwnpm4WeMSRsCrfuCPII9iPcaS/FnxG+xlyOPpeiS1qeHshDfgFmsAEc4HXnI61uWimEUvpIkonC5qApkJVKYfmWSMkjJQbJxrgMOufHj7mLcwsuJkYekUCkqpssr3w3KHkEkgiglHSnStOngtE/WP4np0e4OIV45Y5RJ2lpPSeMqAKY5M1nBhwOPrqizdMUtIFiEeGA5kyRVLUTZI9SlQ8fa/5dG9N6IN9t9r6EhCQrHFuVBTlpHhSQhhIXBJjDC1AJFjydKd06ruwuBxIdVBIEhAciNyrAYhuSMi3aSe0aDLQRN6yLDYhI9QzANgDX4kRjay1FrhIvK1s91+ROnTOF3Kq8io0SgyKeQGdXUSW2TENaUvnNya51Pu0YbHb4yBkZ3skxri4YkgizZBfiifJ4B4A/Stm8hkVZACkLOyNGzKcGph6a+eVUlqsWPvrZHwa3ziRIrxB7VHy+ljGQoUHEEAZMSfb1D55Jmh6wyblBgSPrO7KqH0wgQuoPaCCABfmuSSddb/ZlEeLBFKOrj0x/wDWUX1BRkoMAhBFZEp48krpRuSZJJldY7OQU1wiswvPIg4qAAR+UD20Ld2Ua0nBJWpd+KGcMBuOb0w0MilSWVm+VSuWR7+aRgQRfF8HRHSd2rko4haQoo9TJUIPqWxvlWtBeSjgWeRyLFtN/tNntA0SYyTQxsAJlZw8q0rhOUDUoIGJXtFAmxrXWPjliZikZWMxhS2N26uyOoeNWxVlFgMwu1o8nWrIq1JOKTK4+3e3AjIU5r+ICqlkGPyADGigWyD4I8HXEXUkjhkWeCyNr2DAtiGkxtQw7ARl8vA4Nn2Ih2bJJt4payWX/MDLIBFIFoBWUqQFZsiR7P4+YiT7g+pMIZGZs5IhaKHkxYAH1CpByLIbsGgSTXI1UC2y7xdflXa9NRVBEtK2WOLKyFUUkng2yrR5sE1xRqm46cYS6cySyAxkyEMsbqWjdlQjFgzE2GuwSOL0p6VuiYDODNEqPCqkG+/H8QBjygMbDEe4I57dEx/FEczi/VzVTleI7r7iWY8sSf11rafA+np6coyt57X9RH1xGiB26kGOw+Vd5JjVD3Xyhx8H/mdL5OhN6ayIcuxnIPBAUgUP5idWLqO6gaQfhu7VQCyKW4HjEG7r20u6h1BcYgiSQ40y+orU4ZxRBAsVywI84kea0252sA6WlGErkm6xV+V8kuLAtpHJECSKc5RkG/VAIXjHyAbC/XytVemLdAwPe5VaKnBTJnJTMyKIzynbRs/cjyAX0dY0/ElUM0cX8QCpag9s8YYmmoKihV7gTKCb1F0vp4EDZFzKpe4ngLRECPOjIBauwDdysCo/2jqsIbld0c+EGxQrMaLvG0W3iLESIrM8liRaoYIGIWj47vOeuoNs38SYM09ISJeKogWjkKo1ZwNsxqr5Hvrp27XcFHKj1I7YMWelDEooruMpsHlQrEvyTiDqPcbKNymRRoI4EEg4zVmV5FDMnEpLqWsZCl8CzqL9rpleVyMZdxGjHECVg57ZEqFcFDsOSAjdqmyT4JBGdaD2O8YRRembCxZhhEvJ5dlAFFwrOIihIBxY15szb9Qgk3ZfKPCI+XQoZC4K0UN2gVSCCK5UWND9I6QZ0Kx3NI7I0K2vyCXkEo1KQgZitH5iaOlk03gdXQz6ZvWEjMXVUVAqHEFnjlaNsB8wUM4KWWIpwFC0tMPhn4wO23EUcuCxSs4BXhc2Kngex9RmLCq7gQfYC73fGANGkapHSeoHGYtXZ40IZqEkbVz3Z2ee3gT4T3PpujzK7LKBEHW0LNMqMFLMe6OwCGFLbiguR0jTayG0uD29Tf8AYgiufeiD7f359tB9agDRE/mUWv8AtAeP0OlvRPiSKRJDkqrG+J7gQpoHEtVZDIce11qbdbwSA04FqwFYkgkcEWcSb55se2p221HgXbWRbsN3hE0ccaLlkz+QCSS7kAA93k+9k6S/CG+jR5toJA8BkZX/ABgXLnAuFFBsBVcAeTdtZ1ZUgUng0R4Ni7B4PbwOKPtzfA086ZMDwwXP60Lb78Dzqrl7tpNxxaCqBOPfX2JH9wb0snWHblmkZQCPB5ckHkgDmrr7abhDndflofuSf34/bUG92UUwHqKHC8j6j9ua48e9aoiB53u4USb+I2O6RQKMkchJbAfNQbuurq/H1rjSqPqLSQ7aJlWMHcqWOTAvTF2yIII+bz9SPNVq3dS9TcsySQhFmlSONDRkMYKtMxYNS2ikYjwRySTQq3UPh/19zOEIRIbxGTcsfmGd3+554GjJJDcD2FUBZlZ+LBjDHG+OQPJ/XzqbbzKgqpASbORBN0BfcCa4+uqj09WglH8RFGVJ4RlJk+xF8f1P769A2nW45EDKhrx3LRH2o+36caigsrnwbs5NrB6e5xzytcPBUi6P+sCSL9wE+lCyv1CJGRXaNDJeORonEW1Enkgc1rieIBHJOChGJayMRjy3H0HPGvIOtDdTGGCamm9NaEgPcU9R7YjtAeInigzBUu2GWrWQjHdlnpnwj1d2aTbbl19eOR1UWgkZAA3KrwWCspLAKCGHHk6i+Ofh4b7bB4GDSxMyoyEGiWCv491dBx5FEfpR4opW3G1DuwmQKFkIdZGjCEohSvqmHqVmQwJvGw56Z1CeCPqZBeM5LJDI6ktIxObFldflAGLGr/ENHhdLyX2UxV8H9CbdQOE7GBMcgMalSRTK6vVKeczYU2f3g690k7GSNfSrOgpD5CTCu/EilOUl3xWRBFeWew6h/wDMEm1SWCHdgdkbQ90lDuGRaNCS4v3o+xGrf8Z7JDshJPHCDEysBNJcYs4kMa7zR4XmyBoNsssStnnPRJ22zJJIrdkzJIWLUVEazKuApSp4+Y33EixxpR1rrLjf/wARtPSsMPTK92NY2imgrLk5UVVhq8jje9ZhFCaCh1fAIgvjH1Bxxw6VweKAF0dQwSAieSO2WMxu4NgW6uj1VEKSQf8Ac5JuzXSklLLF1I2rRZf/AH9DMjmXaNK6jwcSqSc0SxFiiL8A8aQbbbGOgsoWV4+1ispkkWYiPFirCjZ8gHnKzxRabtpd105ZmjJxxUSKVdTjaySvGyAqw9Pgo3/2fbVegQYP6gyURlaq6YKQOQT3gOwUnhCycEeNPzd/ahk49o15yG9Mkl3249MLk5QKcvTUIEVwfPlu5TyC5IaiPIY/D00kdpJ2w7gyRzJKwC3iaYsB2kspQPXcGA5oaS7TeTYtEQY45Emb0+LsrmXf8xNIFDMPrQBGmMe2PpxMxyDZDLtyzZ3aig5x7gB+w540q1OllK7waEY60+m3WLRv4hatwY4wewCNFjjcsqwMwVASC1jIAvVMReXnQTThMY42uNlaYhAAkcmDSAhSuXEUSNiWpiL50b0/qypT2qtKcBI4yIAIckH5s8VoEc2eOaGgmWVxB6MiqXTEqeIwYyUNccqAxYkmwD9uZrU6mao6NX0/Rltu+CXpPWZpAWUGhIGEhZiVkxVFHqVR5NhOOGa7A0d02MSTxxjsjENn8qo07j12Wl+XE2Aa+QAeToKXaEqVVZvSaRmmLtGLKA2+EfFE8fmHA96Ot7Do77gSCeT0pVaKJlkZKlICVbGQPl4PGVVQ9gHOd+CTYbgAwhS3pybhm+aQ20bB4xjHLiHRQBnQ+axeJpluOrvvPTjhUeskoRHdIhA4ckAP+Fziii+R70DYGlGxiYNGHchY2ZfwzgSHvLvC/Me6uD4486m2O0yaSOGMlwySxrZ4UBLYUQGYAtQN3R+oBXcrBXYN33Xpdn1Hcpt5FitlNRpG6onzCiynBAW8AAgVxwNJOt9Xn3UUrbm5ZY8ULYItXkS+IUE0FGNVxISfbVp2QU7ZZJXXlHd+xBJ+EBEM2r5RjZ9yQBdAgon2iTAO1hxMY5Fyq4wFkaiF7QxLCyGINe1AM5WwUksgvUemyRbYxtzLKNrDTkKY8F9Vh/LiAIxZJqybHI0rXdusKGGNkANsA34bkRC3NENZBLWKxyI1aN1vEidJYzGDA00wEsh4Mjmo0BFMDQJ9z9rJMXoXDHuJAAWdSFE/nJbUhEy7ivBDRilAFAAHRWpSrkZaSk8OgNyPXphLTkYshfwGQBqFgByvcaJBfkDxqTZNkc41xKRusORRYS4CsxK13O6S9vPdlyQAaI3WzcyMqp6iSqfUIIWJm9SSaNcwSA1xs5rzQXjUXUFhl2+3jhiWP1WlEchY5mSywJJAbFnYIvH1JHA0n0Gkq5AN7B+AoTFTIkSMfUpywzUtwQMTfOYPBADDnTCXdbhDEBGyXAYoVW8ikg9QOsii7dVL2eFsk1ydQdX63EHbJpFxUIuC42uJBTFlFgNZz8kSt9gOoIWO0k3FlfxlXbvkFQ2zK7EHiNAPF0MjQ8UTVIXdk3t+oBIWamUtt0Xljkxp4jNyCoLFyo59ru+NCSy5Sxicfw4lQJKQrHONVC5FeGQAooryLJsg8u5tiU2areZdIzEqD55ecXZwcmGZL+StmgdLv8UkdJ4z2MZIliydmQuJD6jmRgclGPuaA4o+SYuOb5DJSxXBGxdFn9aRwkR9IxjFsmyDRgUbZVWJO4qvIIu7Gpd/t44IY5Wj9SOTxIAo57rXAtlxg1miPvzrhoPUaQr5WLl4kEls5CAoQQzW5JL1kC58itQy9HMbQwg+pkiyO8RMhHBYKAEtfF1RJsXYFaCnQHDwBbXfpGcpVyUk0F80eQPmHjgWPOnXwt8RGLfJOqtguRCP9CMCPqCVLc88/bQP+FiRWlET4RyBBWbFLBP3YgUASf5hyNDDaqsyotBucqa8SF4BvwwyYEexBGi2qErsfTfS+px7mJZYmtT+4Pup+hGtwbZyX9QKcnJqie0cKLNflHivJOvAOm7t0fFZCtWD3NjbDHKgw5A5B/1R9NWzp3V23G7jdJHwSWFMbfxHgGsH5rALE1zzpHKuxuna5PTetQRLE0rop9FCUscKcaFfT2Gqr/hDxbGN82QumbkBSyO/cO1gQVNhGxrwD9dC9Z6285lh9LON5UW4wWkQEnJHA5BwFiv5T9Rdln6ltZUKt6qjxRTcJ54o9oNf20yyJOLhhlO3W68pKoDWCGUDG65u2Wr48H3++tRb7dRdqKuPse7kfXtPP66F+INzHFKsSMZUdQFc9pX7MaAJHjI/8tKTunHasppePav6GjY0lO6oB62rfcD299Vv4w6RCu3l3IVRJFHkhZmC5qxZBQ5ouxFDzlXvqly/EsW96Z6M83pbiJ0aJ/z5R9wZO4U2Ni7FEjVm+GviGDf7dtqWlDlCozI9RggAZ1mW1fyPPdyby86q1QsY9ysdQ6usmyj3DyF5nkaKY3RijUhqUoiubV14BJqV696sfxHvS/Snkf09wTGhT+HZlYIzYCUA3mVZgcSKJBBPnVN658NS7OHbKMXfbOZixjYM4Vg2fki1sRkeWAjv5BpEerzxqgil5x4jXFs3ZgPS9JfJBkN3fdmfmAGlLUmsYCtruXh2wdTLFJHuWbMoCpBUFWxdLEhMagNdc0QfOt734rn3SIHkeQlmjVOxh+IAotQoDseApNVya50u2CMVnjd7jaONnf1e0MrkgOWZQ95UQtmyAKJNcSdQIjk8oQzeVAUOSoBx8tIoGRZicS9+eW3yH4yND1hfTjSRRGVUoFAdmWaR5iWsyHO1KFgSaZiKXSnZloVnjdqXCwCynmw5agTZxSiRda52chZHU9tIG8HJgXTEkgc4kLRAF2ODqCWMRt+I62B8rEEsbalJDWoIC9x/n+lnW5wZvaO9vstxtw7ruhijBVgWSRlZ5EyCYJxkAWYkCrQ8g6wo7ONuu1EjHcSn1ZAyI8zWKrOqqqtsr8UTRAbpJ9XEhvQLkhowzAxqrFscmGQal5L2tHxfMkm43MqxL6zn1y0qxBSB6iWbDUAFGPzZEjEE8c6eDi1kzUrwPdj8HbhZA8sbYwIy9jI2ScoLUG/lJY/ZEAo+COpbRBIMExjIYYh8TCgkYWqlgRK5VlBsUFckkXpDD8V70EbV3c5Ni0ciq11+VieWQ+9tiQbNjQe4Mn4biIDGNV8XgFpmHaAaxYWPNNR50jafH5K1tfKb+RPLB686TFmb8UOAFohVVZJZZFWwi8pZVgRZON8Drd74Q+lFgWEEryAKoJSK8vJskG7YeL4J41NN0aXaSiJzHOkzgFQfxWQnGN8Caj7gD818LdUNCpHgscqxZwh5jlRyCjyshUWB4IDL7L48aFrsIrvOL8h2x2KSQTMv4ipKFU5CsVKyKqu1sGtnFsoVru78a2W5SKYhkctRkjGZUhzTQoyk2QlkEAg8tZPFD7Hp7vFxGkULqGEhoqzB2Z29RawVIlZcG8ZDwXGoOp7ZiJWZRapHJzioxkJKlRnTiqrHPx71esZulQVudqZNqkyEByzh1BW7XHtrhsx3GqquebLMJC8iGMo2MhXgliCB5yBAsEEMOL8gjRGz6o0W1FMGzlXI/KeY42rEMMyptcyGPBqhrIJ5hdyRoCWbmQfhRqSGYBbLp2hQTzkKI5s7bbyQynf4CY0eaKaSFpMckXvpiCR6khwX5QPUuhfggk+REJZYUijxJdS18HhixHN/7N83/TU3TJsCyZMLtgzks2ZVVLMoouQqmhxybF0LkChWZQrOWbtZO3mw2KyZZOVoeAFNe/nSWUqL7le3cLNI6+mWSwrM+V5oVEndfa2d/fu8V5d9W+ImklhEyMACS6JxiFHZgQvaqgquQ/Knn31Bvowq/hoGFBhGcmc5cBji/P8AtUSfrS0IP49TFSRnInJMGXIUlYkA2UkZ7K/rwKvVFkEXtuh3LupPxaiYYhDBeIwT0mRcUUlR2uSfqMC3NAqthvGbbGF8o2EqqXYglWkdmaw7KYipTJiLsE3Xza1tRMUjY3x7R3m7u/pvkvBaUNFdN5yBJ45yLpon3EvrPUKSepJlIBwQUBAUm3yUIWBPze2lwWW5q0dbgJBuzCIWklkDQ1atfqMBG8Ttfzg1X0f5jfDTqnR3hhhhnLxOEaT08R6eFsSoKg5PkVBp/BXtHDaVLvktZIY48omKxBo48WLSO6B4+RGUJZVYkEkjk1Wo99FLDnBm7kJyULvGWlcR1nXiolAb3oAVp6TJNtS7BA6oxDSSiV5YyrTFi+ca5dig1+GSOARiO43yNHdRd/Q3BQZmWnD+mFAZGQlRgSyquYKgHzbEnMDSr+GEMe6UoBI0vpFslXCIx3woLKYwVIPPPbZB8HEesXgeSPawWhxdlJZlxCYkgyFnCgF2NAAWSBjpaVjqToI226RVeVAxm3Kyqn4vfgiovAo1KJQVBagVJ88g66LDMduZAEkLsEcFvliUYJEMTiHBLDv9ifPsH1/p8yiIDamMq0ah2ezkVyUEAlUvhrSxRQGtEbbpMke5l24LkGYHllpiQDZINg5V9Rx+p0G8GwshvQ+jzIZmdWVkkJjGB9OyrKe2OzQlKsKIBw9stcdM7dxLNvIFmMmd+IwJKVlIYkUmClKsnleDzY0u5dtwUujwoOR4I9mNVRo+9EVwfGtP1VzKec1UgICQeSSKx5BvJua8AXqe51wS5yWLbdM20uxsi5ZVOLqlViBHI5KjFQGPCWcsTWV8GfAsmz2m1IaCU7ko8pDRysoUlggEigqiEALkaP1rVe6d0x5dvLEajEKN6ZIyLS5CUluCVBBKkKfN2CfLfY9WWOJF3cjrlC0XYbUGalNohIIA58Gslrw2mTxRXbi+5L8Kdei29fh+u0XqEPGRkECBRmWrEhB3fN49rrXqHw/1htzF6hheKzwH4JFC/PNhuKIFVrwfcbNTPJu0iKwLuDgoZUiaJXkhAjwBYmgbAI+U88jXo/wx8RxQbYgTbg+ngrRywtcRLBMQS2PDHxkWo82dUS7EZ+73Fz6xskkWmiEn6mjV+QfY++vOupdKi9V+2OTuIB9QqQB24kChfF/73nXprspJU/MBZH2Ni/64n9tVXrOy2iy1Lt0LUO4tCMvvTSK3m+SPIOiSR4MFIsqHCigSfIv7gUPBoeRXvWj9t8SttZ1mgxQqGIS+ACAPT7vmDHnj3JPGod9vFlQTGHEs7kCOZFjBUDJjFgWUG7ALi744GlrgSLYP6H/iDXNEfT66PJTc48HoXxP8aQbzp8C8zP6mLZCSL8YAY1TUeGYiy3yi6JB0kbr5VoY3CF9uJQk0ULM0fcFWQ18xuOgQFPPd918kjKtUpR5FkVY7HabRXWOjgO9qUjI2SQaB0qXdvllmbyVkYuMUbIvZJ4u7NHm+a50uClYJd1EzlWCMCUUKSxESswJlJJsUBldMAMWJ8Ea0kKOm2FpiqyWFR2IKuSZXAFtnWI8UAAaAvRjbkOmMsglp7R5GtVC2XkZRbMXNWCCTiSCb1x0d1dhjElorFlAILkuZAkar3M1DAZE/MOKAo8mqgjZbXFHWZvRLYBMyoYD1M1DQ8MgbBBmRiASb7joHdRRRuwKKrOe8yBmCqwHKqnPcCSLo8g8cEHKjs0800fC0DFI3LSp6eTfQjgsw8AuF8eB5ZMpWAVGtpFRqpWSTIZKuOUhUENlfAVQANI0FpMY7uZJPUj24/DZhkjKVhXHErIbjDBiqUQS3nk0L1N1jf7fcPFBstv2Ia/GYgEBLJJLkYFQ1NxzXHjSibbJHeLBgSy5Mvc6+CVyFRoGAa2I7X82DrPiDY/wsyII5FZUOT5G2PNDgUhRGUEDn6862nFRVIE8dwrr25iVI5BGwf8KSVCmA5DRlQW5xKrSsooA+55C3cTKk8aMzosRxZkbvViS0rA15VmK8DkRjXXQukrLuNuMi3Kvl5XGNe5SCMvnVUHtXjWtltLkVcmeR2ckEcGkLEE5d7B1XHjzfngavpTUHdCyTk7C+oSYRZlEdKEaqwbJQbbNCGFHFK98cqGmvTJWi3LelNHHGUkEiRqWWNQiyylchXpEqO6zytV4qmbhmztuPSoU9mypJrkVXFY/oPHh9s2PqBiEaOOJ56j9PhXjzKm/mZTS4t+WPxR52pKLVRVDwbk7ZDt9z6m8R5hn6gNkLw0sgIEjAnvNOG9i1AcHRu9LCKFSyvhGHDkXUbdvgjjlWpRfnkjwBR1JnjaCS3W1YkjFjS/iU0g7GCA+aFr4PFm7LdwyHdOUKQpCWEauTiz5IkIYqcVJIBIq8BYIvUJWGDTdeQKPqZC2yBkZ5FIwjAWV0Xuyq/JF2OQK9zrIpGMdwsjy5qwqKse4Dz6dLbkgWRwb4JIEHSzI0QCqSgaRmvCs/TpgMgb/Dw4otdlRYvR0MLQzOqUU7mB4A5ziT5+00Hb5uOTfm9M8CJJp2FdH6iTvvTkYMxcDPkWWpTdMGHJBWjd1q09X3wVU4BF3Ry+QGkVvm44eyQL48aofQZfU6mjysopnlLeEGAaayAe1Rjdc1QFaum/iLz/iYsywIpYYm2ZmcscRichi3HBux7HXR6fRepJRic+rqrTi2+CHb7yBlknSGEOGjRioWnckl0y9MYlrHnEGuMTwYBJs1cjBQ3qOnpxyqssZFjgqykg0RVE80wHuUnS4sWBQdwAYC6YLVX9QK4+mhZvhbbMb9Ojd8O45+vDedeg/hur5X/fY4f/R0vD/H+zsdB2n8MqlGJeRO5JSQGrEBo/WLIB8tk0KscDkkbJHftMgdO1UJUxAHuyTKMqW7iRWVlvm+o7fDsQVVIYorZhC7Ylv5jRsnk83fJ+uoofheONSA8hDckMVIujz8v3v+n0sFH8O1fC/kePxHSXDZPtemR+hHGZGAdmtW8vJyQGbBfUClTiDXF8EAa5g+H5Iish3jGRZXMZdUOLgqkiP+JbKQQKSvP1JGotp8O4Mv/wAiZwpBxdrU+ODVErQqiaon66edXVZlK2y3K0hKt3d3lDkpBW1Uih7DSP4drJfp/I8fiGk3+r8CSDpmSzhhC80rOLJwj9PnsURsQFsEglhwa4I1INqZduqYhJY3ctiJcZFkUrI5DoMpTi3y3QYmqJ1Ns9jIiLGZRQVvlQYlryDY/lOXJo0fp4qJtruGhNlGdQFU+wClSinFQQoK/Uk39qM36LVX+DKr1ulzvX8E3xLsJWaOWNIpFJje7wLPaqRID5sqI/via5PPLdHlk3SyM5hGLMpAQk0R2rywaw3d54sVzzztJZ1LGSCJyVGJWRkUPVElBwynk+1cfroqVyVSsmtLdCTiHLC+bN0CaNeODdnU36PU/a/4GXrIfuQm2HTrXCSCUD55CA5PzdguzmxHNZcf00Ft9mUBwj3CU7LbxRX3tipNhZKojmyASKJrTv8AiiYijRNyaCmMMoWzxQGPIo/a/tem/wDErOtq+KqjWXullyJVytKVxIGQ9wV96OoPQkrw19UP1VLhoq0U3orGyIjKvm7IfiyzBTyxUXkbr28ak6/Cu9RBA0duEDxrKva1hmKxyOGKLkR7WQfHnQXVYp9ssa+m6SS2zIw5YBn9MWLsnvIBI96sc6nh6pHAU9WF0kx7sVjCk3xTC7NWTfNjyfGoK4rgdMcz9LgjgjSKbBdvI2UcrKpllq8mZW5bEcUTxx4ABWdD3EwA9NnUyTc8qWkjbM0vaxDjFiQeBjfFkaD6tP6qkKjCNznZJwLd3dRNFqUi/PafpovqvWoY+nbX0dsU3CAEv6dRDEY+oFf5ybDWAQG+b7tHPI++uOx6l/6d/Eke6gcgsJRQKyGzgsaohDUAysFL2Pdzq1yS2e0Iw+t+/wBPl18+fCO33Jgk3EcYdlBKRnIiUO/eQoN4Eqcl8NRrkAj2zpe93fpKZYtuXIu45ziQfFBo7HFe5/XTquCMk+fJ4J8MdVj/AIXfwS0C+BiHIJezERV8ghuQTxZPtpeqGONVMbiNcrfHt9RiATmBTfKFq+DxrNZoXkqv02S7a/XDOwAWN1piwAbFlHyc2S1G/IyvXG224JMqGjt2iYljTv5dyrY/MDyDVBTZPFnNZpmHTVqn8wbpcPqTg0UiRnlNUzBF5x7j7CgSxrzZ0yXbxYeunDqLTEItguO9kFYVTIAoJJVjdVres0rYYpIYdWtdvEko9OVoJZIk7SXhljYLeAJSS40emoFW/mGq3toiyukjC1jXDzQSQmRms1iCvbdG/UUe+s1mmqhYtyZNJL62cjSFnLIRyQwsMMAxFhFA5a/GIA1x1Dd+o/agVAvyqpKgjmRgPC2RZxoUAPbWazQCMOk7DJdyWN+qoRfymR2UbmgaNfIL8JRBPtqP4a3cyLM4iWWBBciOFIxelYgHy2K1+g+us1mj3BeLOpdyajaKFfSgObo5IjYq5EbuxI9Ru70qHP4ZBu9DdY3RO4meIs8bKY/UHi2F9zAYk+f1A1rWa1CqVjPrceDJGsoaMsIczF6bmM4jI4t3x9zCiQ3t4OuOudbwdTFDDtWdSjekArhclNlQPwWIquSaJsnWtZovmhmtqtBvSPhn+HA3O5aAxY2AwZ5MziFBVSMTbEFrYDA8XzoXfTn1lMcZWM0I1JByQOyHF3sOeQbPF37DnNZpHyUS9oX8PdPEE0sk6ZhID6i2i8TMgILf5asEZrHjiq8jVgVV9afEswV1TJjy3pxol/Y0OR9b1ms16Xw/+6vueV65/wBJ/Y6La2XPvrNZr6JHgvgxZiDfuPGuktiB9dZrNOkTbJZF54FDWpP7VrNZpuwq5IJJhXg3ruGTgk3X0vz/ANtZrNTZZPPBz65PHv8AU6kgBIJ+n/n76zWa10ZK2cSxZWCSD7MDzWu9i5jcV8osMAeCpFe/F/rrNZoamnHUg1LwGGpLTmtvkB+L9hGIxMMh/lBpInIX5SsbleV8MyeDWV//AGEijptjKkkjySEIGJIid0D84qz3UeYHnn9ONZrNfHyj7j6mGcEG2mkDRy8MIqVQfGIYtiQtZAljdnmzd6fwfGQEhk9H12nVoiJyGxLNXYVALL3UQQLHH31ms0haqWPBY+mx+ohT+GCSze8bCPbsYVuyGQYRY5GrHhio8k9y/DW6kCeru1/DQIgiZsBGvygNGAHAJPcbP18azWam5OOUWj7nTP/Z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5" name="ZoneTexte 4"/>
          <p:cNvSpPr txBox="1"/>
          <p:nvPr/>
        </p:nvSpPr>
        <p:spPr>
          <a:xfrm>
            <a:off x="395535" y="2033096"/>
            <a:ext cx="8285519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Select a constraint:</a:t>
            </a:r>
          </a:p>
          <a:p>
            <a:endParaRPr lang="en-US" dirty="0" smtClean="0"/>
          </a:p>
          <a:p>
            <a:pPr marL="1657350" lvl="3" indent="-285750">
              <a:buFont typeface="Arial" panose="020B0604020202020204" pitchFamily="34" charset="0"/>
              <a:buChar char="•"/>
            </a:pPr>
            <a:r>
              <a:rPr lang="en-US" dirty="0" smtClean="0"/>
              <a:t>	switch keyboard each minute</a:t>
            </a:r>
          </a:p>
          <a:p>
            <a:pPr marL="1657350" lvl="3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1657350" lvl="3" indent="-285750">
              <a:buFont typeface="Arial" panose="020B0604020202020204" pitchFamily="34" charset="0"/>
              <a:buChar char="•"/>
            </a:pPr>
            <a:r>
              <a:rPr lang="en-US" dirty="0"/>
              <a:t>	</a:t>
            </a:r>
            <a:r>
              <a:rPr lang="en-US" dirty="0" smtClean="0"/>
              <a:t>no mouse</a:t>
            </a:r>
          </a:p>
          <a:p>
            <a:pPr marL="1657350" lvl="3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1657350" lvl="3" indent="-285750">
              <a:buFont typeface="Arial" panose="020B0604020202020204" pitchFamily="34" charset="0"/>
              <a:buChar char="•"/>
            </a:pPr>
            <a:r>
              <a:rPr lang="en-US" dirty="0" smtClean="0"/>
              <a:t>	no loop</a:t>
            </a:r>
          </a:p>
          <a:p>
            <a:pPr marL="1657350" lvl="3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1657350" lvl="3" indent="-285750">
              <a:buFont typeface="Arial" panose="020B0604020202020204" pitchFamily="34" charset="0"/>
              <a:buChar char="•"/>
            </a:pPr>
            <a:r>
              <a:rPr lang="en-US" dirty="0"/>
              <a:t>	</a:t>
            </a:r>
            <a:r>
              <a:rPr lang="en-US" dirty="0" smtClean="0"/>
              <a:t>no if else</a:t>
            </a:r>
          </a:p>
          <a:p>
            <a:pPr marL="1657350" lvl="3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1657350" lvl="3" indent="-285750">
              <a:buFont typeface="Arial" panose="020B0604020202020204" pitchFamily="34" charset="0"/>
              <a:buChar char="•"/>
            </a:pPr>
            <a:r>
              <a:rPr lang="en-US" dirty="0"/>
              <a:t>	</a:t>
            </a:r>
            <a:r>
              <a:rPr lang="en-US" dirty="0" smtClean="0"/>
              <a:t>no collection like array or list</a:t>
            </a:r>
          </a:p>
          <a:p>
            <a:pPr marL="1657350" lvl="3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1657350" lvl="3" indent="-285750">
              <a:buFont typeface="Arial" panose="020B0604020202020204" pitchFamily="34" charset="0"/>
              <a:buChar char="•"/>
            </a:pPr>
            <a:r>
              <a:rPr lang="en-US" dirty="0"/>
              <a:t>	</a:t>
            </a:r>
            <a:r>
              <a:rPr lang="en-US" dirty="0" smtClean="0"/>
              <a:t>immutable structure</a:t>
            </a:r>
            <a:r>
              <a:rPr lang="en-US" dirty="0"/>
              <a:t>	</a:t>
            </a:r>
          </a:p>
        </p:txBody>
      </p:sp>
      <p:pic>
        <p:nvPicPr>
          <p:cNvPr id="4098" name="Picture 2" descr="http://www.google.fr/url?source=imglanding&amp;ct=img&amp;q=http://walkingmind.evilhat.com/wp-content/uploads/2013/12/Chains.png&amp;sa=X&amp;ei=O2FtVf7jM4TpUt6-gsgO&amp;ved=0CAkQ8wc4pgE&amp;usg=AFQjCNEROCHvN1JDnkP4C9VSOX2jDOLT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72200" y="3300564"/>
            <a:ext cx="1948814" cy="19488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543719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1331640" y="980728"/>
            <a:ext cx="5940152" cy="599478"/>
          </a:xfrm>
        </p:spPr>
        <p:txBody>
          <a:bodyPr/>
          <a:lstStyle/>
          <a:p>
            <a:r>
              <a:rPr lang="fr-FR" sz="3600" dirty="0" smtClean="0"/>
              <a:t>Final </a:t>
            </a:r>
            <a:r>
              <a:rPr lang="fr-FR" sz="3600" dirty="0" err="1" smtClean="0"/>
              <a:t>Iteration</a:t>
            </a:r>
            <a:endParaRPr lang="en-US" sz="2400" dirty="0"/>
          </a:p>
        </p:txBody>
      </p:sp>
      <p:sp>
        <p:nvSpPr>
          <p:cNvPr id="8" name="AutoShape 10" descr="data:image/jpeg;base64,/9j/4AAQSkZJRgABAQAAAQABAAD/2wCEAAkGBhQSEBQUExMWFRUVFRgaGBgXFhoeFxoXGhkbFxoYHxgcHDIeGBkjGxgeHy8gIycpLSwvGB8yNjIqNiYtLCoBCQoKDgwOGg8PGi8kHyUsKSwpLCwsLCwqLCwsLCwsLCwsLCwsLCwsLCwsLCwpLCwsLCwsLCwsLCwpLCwsLCwsLP/AABEIAKgBLAMBIgACEQEDEQH/xAAcAAACAgMBAQAAAAAAAAAAAAAEBQMGAAECBwj/xAA/EAACAgEDAwIEBAQCCQUAAwABAgMREgAEIQUiMRNBBjJRYSNCcZEUUoGhFTNTYnKCscHR4fAHFiRD8WNzsv/EABoBAAMBAQEBAAAAAAAAAAAAAAECAwAEBQb/xAAuEQACAgEDAwIFAwUBAAAAAAAAAQIRIQMSMRNBUQQiBWFxgaEyUpEjM0LR8BX/2gAMAwEAAhEDEQA/APTxreuc9Znrus4aOtZrnPWZa1mo6rWVrnPWZ61mo6rWtc56zPRsO03WsrXOetepzrWaiUPrPU1HnrRbQwNklz1sHUGesz0KDZNnrRbUOes9TQoNkutYjUfqa0W1sgJeNby1EG1megwo7L6jMut3pZ1WckBEJzLDwa8FbF/odBtIKyHPJqJn1R91NKvP8S/kihI1+/t9ARWmfw91tR6gll/MAob2AHPtwP10LHofTtxpN1hzhXNZD3seL40x3O/DBSrAg3z7HVf6vugPOI5Py37Cufprn1E2ysHRB0Nb3Uf2yb9lP/XV19Q6qnw3F3LKObLJ4aqADEilNmlPF39tN95upAeMlGfP4RrEFwRkTwDh83nuGjCaiqZpR3O0NQ51mWqTvuvTKHCyOCIyQQmQyJEakn2pmBr3rXW867KudO5xikY0gY9qkjz47q/U0NP1UL02XO9Zqi7rdM7wh2LEfNwT2imfgEAcA8nx7aBhndUgYM4lcKAQHbkj2iLVxfg+NbqA6bPRDz9TqTbpftz7cf8ALVFl+I5gjuJWoyOF7fy5lV7a54H9ddp8R7iPNjKwKIgsoF7sAzHEggctX9NHqYB0y8bi1UsylQOSxHsOdJx1qBiAJFJJqvezqsr8S7icKsk5dWSRmX0wnaWEaDwLFpJz75fTS/a7weUK36qKhCE0Rk7HPwTin9Mh9tCOpRpadnoQW/GuaHvf7aru038rSKuZq+eB48/TToufrq6lZFxoUjrMv87fudZ/jEv87fvoQqv1P7f99Zx/4dWs5NzC/wDFpf52/fWv8Wl/nb9zobiuP+f/AE10v/nGsbcyf/Fpf9I37nWz1OX/AEjfudCmRR7/APDWerfgX/XWBuYT/icv+kb9zrP8Sl/nb9zodSx9q116TfXQNuZOOpy/6Rv31v8AxOX/AEjfvqD0T9dbCH/81jbmFL1J/d3/AHB/trn/ABGX/St/5/XUSbNjqZNl9ToWbczX+JS/6Q66/wATk/0jf21MuyX3BOpY9jfhf7aXcg3IGHUpf52/tqVeoyV8zX/TR8XS74ofsf8AkNF/4RiOSv6ENf8A/m9K5odKQqG6lPuf7f8ATU8Jmb83/D/pouRlS+5bAugoJr9DrJurqg7nUeDQHJ8kcKLPANaR6hVRkztNlLV+p/Sv+uu1Wvmka/YAeT9PGg//AHRAcR3MSRQC1ZNFQcyBz/T76HHV2MsiRgPHVEhEUEEmlXnnLIfN4rnybm5t8HRHS/cNttOr+7eavG7P0HP20t/EaV/TicLGSQ7ISS1A0ADybH19h4vRkvWpMBjzcYAPBCkAksFwojIY+/t7aE3PxNIIo4y6lpFAD+qis1i+OKDVXND5hXPhHKy+xIUdW6bIioDChdaIYXkRdnJb5u+fP9tAnee8qqMSOwg/JzlRsEefYef00/XdbgyZCTGRSkOJlyUue7vNAKxQBuKsMCK4Jd7D4fIUJKIzEQ5apHMgcmzUhrsoV/XSbmHakUs9eLRx4JGtKcxTcEWbsLXP09qPOlHWt9k1dpPd8pU+T/qk/wB6Or31b4eSIB4ZsXxJQZVkByeSe+rFj76qm7k3BYmTI/UqiK3HsH9OxRH/AB0N1A22HfD3T/w4lkQglXsGPnFiyj/678SDjKh71oqbftXGQDoS1xuoIIVgLvEG5Tx5NN/KdJl69HGKeOZyBeRxkOYYPTWAw7lWjZrjwBrn+Niz7KGMKqowZDiZD+UnGqjThRY4s9wGlu8jJVgAnGUrGvLwpffQFtM3I7R/lj9xf0I+9fOaSiOFjTkt+eVSeBxeCNR/760z2wsEfiSsSM7FIqJfGIv1GofY+44gi2hTtlWVWMgNNkpIVHAsMBwfUP619tOZk3VpVaR7I7YXA5aspSIBwv8A/b5131GdRLFZ7Yg0h7iP8pTILrzyv6aWbeQh8KIzkiA7jfaS1Ae9uEFasG0+At+8kn4TIGTENJIighpELcAlvkBHIHn9sZindxD09vBdZGND3H3oHn5j58+db3u7B27MpJ9aRmWjZPqOSoF/YgAf0Grts/8A0vdWWSWdc1s3ZCiwRWOIJAvyHF17al3PwPAkSh9zMqqAp/hYyrEWBWRzmr64sOLvTInZTQrRh1c90ccafOG+WMMxPupzZuDXgag6Oe2O3J4kkILggZsIl49uImP+8dXuH4K6TtCCYTZB5llkYEe9jLH+2nW2i2rRlYEiAWl/CRBiV5xscgi/H31qNZ5t1HdyxJmgdfqy5ChX8w8A1rafFe6of/HPIv8AypOR9dWmLqe4V8GCOxDUzHt7Sq8sq9oJewCLpGJ8Xo+DrsxsGACjVidMTwDYyo1zXIHIOqZ7Mk6fYrQQV7frraD6G9No9ov0r+mpl23+rx9a107jzRONqT7H99SfwJ+n76Zkr9f212P00NwBbHsP/K1Muy/8rRwiv8xGpPTUef7/APc6G4NC70K12Nmx8D99MA4Hj+2tGcD/AL624NAqdNPvWpl2QHvrZ3A+v7DWhuSTwvH1P/TQsOCRNsPf/wA+mpPSXXHqhjV1XJUcfUDzzXB/bUsZA0ljGomU8BTwffRMUxU8Af11rbRlrth54oHx/wBdMdp0cH8xqz7f1vStlYxb4AN51JwjNkRSk8ceBf2+n11Xd98VIAxRizGscqAJ4sgfMfNfqPvzY/i7py/w2I/nQtzziDzx7nmxfuBqjHpLKmDyI8lIzY2AqsoJcXf5QBX0x45NRlPODu0tGNXIi3HUZJGBDHLAjj2UAkg15N354HnU0m4yA9OIytHTSIfAUBD2kn2Yn7gHz41xt9iwZC1sFyzVrLKoJS29zYxb2r9edA9b6qPT9NFDEf5jAWKPgAkVwoy/ViB7abS097t8Lkrq6iglGKy+Bu9vI8e277QqWN4pxkTTElT2lQB51Jt+ott1WqHpgBmkNhghAON3QyrgAVR+1J+lbv0FpoFFtTKXtWS6Vr/LICx55uvqNM32LAZmUIj0CrPdLYtMFFg4k3S/YnSyneFwNGGblyWBJi7gzuIs1KNx4s8eeDYy82RXkaA+It3DEsTRiKR45UlpiK5UhEq8rqieOOONB7qHBg24f1UclVMYGRZQxTOMXQAUm65HkeRrvq/RYVRV26uVWNuOW7gitWQ/lZxkPfyfB0kngLirqw7oHWQcJvSFygk93B9P1LaNWNfmxs1yovTodXikhkdnEhvBVCmwWtVIWuQzWQxFfpzrzxNvPFucZSqQnPC5F9MlUVXAdgvulkcAYjzwdPU6Tutqcty6SpKAkeMb130wX8MYggISC3F0L0sXboVpVZdd103bNkWxOBGTOeA2NA2eMq8j78+dRbTpykI6qrKQC3cCwLXlRHvyPFDg6856A8IkMMhLKwUj1PZiMglnzVceaP8ATV66Jto0nQKwB5NBvYX9+RZ8aarQltCL4j6QnLRgurMRiEKspBORNDkXzf0x/XVe3XTJArExlsPygH1PNAVVjm7B+l/S/VfiPZJLEuURmCMJAqsAS6kY8/Xmx7duhN/08SUscBUqxt+0Hniw93Xk/wBRxpZKsjrJ5DuZWdGADq5awe0eLHJvz8v99GtuDKg9WMFlrJ+TkzEAeAcB54HkD60NXLr3wdizEeo/vmqgUPuAbc/UgA6UD4aVwKkWzVUwNEGzYqwKBN1rOUkakKR1ASbpIpNtIgy9NXKtIlMTVA2RZoHjj9ORdfQ28s0SbZdxAWdTnC0ixUp9RkZcgqsfB7SeaOq1telHNXTck+m/ivcc8XxX3+/jTX4Y3A2USoxWZxLI7yF1B7gAFv6AVx/q6MWJK2WqbpMwkdk9Nkw7FYMXLBfDNkKBP2Ogx1TcRtT7L8ygGOQH5uLplFAHzzrW6+PUWPIgJxdZqeAa/Kftx4/XVa6r8ZTfwzzq0Yj8gE2zEyIlYKbQGye7kBW8jnVExKLfu+vRqAJc4siVyZLCnBnuwSAAqk8/TS/dpuVkpFSRSwonKPisibOV8fQeSB9aR/BPxIN5OqyQsPVuiguH8MFqYs1hyCfAqgBr1E6zb7BVd0UaPcTlmB28hxCm0dGQk5DEFipJGPPHuNO4vhrNQzyzIxAJVWUBftQHtpyYV44HB+mqr1j4tmg3EkbCJFBHpl+WdCikvw4oZ5rRH5b99NbaE25YjMwP5v2Ouowfqf3/AO+u02g+p1J6Z9gdXPKo3HCPcgakX0x5cGz9H4/YajG1vz/x1PHtvYDn99axkSwrB25P5v2YHjz7ke49tbk9JOfTXEmhkXs/fyNRQuAa9Mv/AL1f8tE76JJACY1Rqq1bnjxfHOptlVlYOoeowgikBI/1aH6nuPGgNwXkPexq+F9h+wA1NBGFUDk0PNCz9zXF66L631M8qmDLAB7f21jCh513/Fgsy5C1xse4y+X99Y0YJB54v9KPm/2/to2I0RKx/XUsTtfGpodoxIuh3G+DyOaH6+D/AEOiIZFjVhYaRb4vnwXAr2OP20rkkVhoykF7PasR3MaYciz4+p+2hd78WGIyn02kCggYcm0ieZrHAFhQAbqyB71qp/EPxDLnIUfAY4cA5BopmHHI7csrNj8gvuF8R9ZznWdQzYRkypQVSPx0XFiQrGnRTZ4pOdRc7PRhoqKHsfV1LSrMyhHACE85PWJGC8gZKDRqy3Gqxv8AbAOsmK04xLBu4lA0TBlN5JSrV2T47SNID1OJZVaN5W26SgiF4lcoFPcUnkk9UOcWa+AMjxWh9x1hpS04UpGTimTH1aByJIHaoLm/N8WBxpNrb5LRlFYLT8M7YEzSRljLOJFdWshsgXUeT3DwScapq86i6dINwJVJCYSxoKFM7G+wBe7tUk3XGZrxpZ6LwDEgUwHg8AMHBkkH53ZgW8BRwKqxqTpu33ErSKWyzEZDiyplVGcs4uwAGBBHHK8k86Ltu2Uwlxz+CN+mZVzShsVy7i3qfnI8AcAggm/W+miR0thHEyP6kfqiORcLbKQBVPiqBDZck2fA131/4Y3EEIznhYjwkUb5KwQ4qH4NdoX6DLwebTwTNGDHGzAsGaQnub2fxxXK2PJ81lofVFJxiq2yvzhjBOsSRoY3i5YoQceAoNI2dcEEk+3zkX5OmfR+vOIyodGzGbBRYyZWUlSo8UIi3dxbV5pVPT0YKTkVRWNCzi8ZAkb/AFfOKlQODlRuiO9rLE7qjYkAWvLKvFLQxOI7R4rjitK5pEmk78B8vTzv4kaay0Em4Y80DE0ocAYijz2L55H30/2iRwNBtm9IIUPOUvrGY40Q9GPEkntAr9KrSDp3UYlcAxRrCqkExRWrElZArY/5ZBAIY2DyTV6n6pIWYNI8SsncFBQhhHk1lzRRfAzF0L+h0YZW6/sTks0l9y2QfD01IwjVQoqWNmuQMaYEMrY0FNEff7DVe3fTt4cQFMbqMWPaQWCg5AZd0ZPA8HtP1BOT/GssPqHbSoxd8mz7rxiwBX/WIiXiwOH9/MvwR8fHc22+VQzv6alExVQFRwWtr7vU8/Sv11RxQm9qrOOn9N3+3libONkYrmMzlRVQz8ikxYZBRd0eedHx7o7zcSLUsEoRlSVouMVYgMrFaosVOJHP3AOrtuNtHRBFcUD/AGFfeyK1VOh9K/gIu9jIzNEAjOcY1oGUqCaCqWIsV4Ue3Kbc4KKSabfImmnaHcXOyzN6YQrCmKqWOLE/ijvOZqvlBHmtNukRxfg4rIkjumJkIza1f1CwBrwhb/f+ngWfouzO9km/jJYzEQf83sVitt3EH8pUVY8nydQ9c+KfRlRoQrKA5DjEh2urZlGYYAlOasH6WdIlV7mByvgYfE/pbeAGeQRZmlwUEMWNkBOCW9z+hOvK54c5bjlJFcXaknx4uh7f99WCTrn8SdrBk0ywmNRGzqDI6Kq5B2qiSDyTzlqvQdOka5YxG699wMSSUzeuCKxCEe55vjQw+APJYI+noI1tiWAo0gAseADZ/c6FPREYkEsC30Pn9vHJ86D3/VnYG6X/AGCCAAOPH09h9tQ9I6s0YExlBGJAUk52bNkVXHH99LkGCwxbGbaRyRQP6Ydy7c4vdKpAf8opKsUeTR0w+Bet7oNHJJuHeF1ZysickAcAOSAGY40Ca83WlMXxGJIWBW2YKquG8FjjyPJq7ONa5XfPCtxvWC9qnjwOAftwBzxprBSZ630br/8AEyNgn4a5DO1YFlYqQCprmuP0OmkuyRzbIrH6lQT/AH14x0z4xZFSJZ3GCgVdWAPm+/1/rpjuf/ULfIcYsZFr5nxu/fyQf7adaqF2lkRTrpiF8n+mhdl8RPLGrxKqK6gjsphfsfuPGsWE+WOuqzymicbxfZcv1/7aPfqbkARqsX1Nc/0FV+96XgAeK1HHugzOlm0xvg13CwR9R5H9DofUaLaNb53RbQeo+a3ZrtLDM8e+N0PrWpX3IAJ8Ackn2A8knWpGABJPABJ/QcnWlcMvFMGH1sEH/iNYxqfdYLk142Lr2sgWfsLsn6aW9d3xwVUPD3bh1AVQVWTk+4RmPj8uiN1ljHgbT1Aj13ELRQ1Rvtar9xX20N0rpJdcZSykGUEAgq4kAbMEDsIcmrAPHjkaVyLQh3DpOkmRTzTHEZAUaDA0f6X++nKdMUowdqUjGxZ5bt8VzydAdT352sMbUCPWhjZmulRnCsx+vHv7XftqrDrU8kMzQRBwjrgLLd08gmBBschlUCyB3i6qyjkdGnoXyHzT7hY5TGVcxbqoiXoFXhCcjkkLLIbBB8E/TUHTmlUuoYTToWd3LIcCoVAoQlSB6c5b/dFnmtRdOjlj2k8U/YryRIkfBYAiM5JjRYeLAPs3gjQHT94E3jCZgkKqCeQSzSbeNCcBeBpx5+vAvwp11SYftFkaRYSYyFk3GS2rXHKySqxIFEF45VoeAV+41Nuumw7dM2IgEkckHaQDi5APaSo7WGV88XojbfG8EUasE/GCJE9lRkkbNh3FgoJyJAJABaiR5K7fdH/i/UZD6hYGVVZpBaSDJSikFEJwuuO6x7HQajy1kyTbKn1CKSCVl/h2oeFLoRQGRc+ymvr48+DoAdXcl5fSjdTlIVMoDKgUMBRWyMSAKuyrV4Oj9wsksrq1qVFsK/OmBwVUB7balJBAo34vXG8gWR2yXOmxkBAuwo5LDi2YO3B+nFadSN0reCfpOxkzUzGJU4kdvUJHpu1NZw7GUd3PsQfY6ZpvdsriTbGRGVwsIc2tFsG7o7BHpgAZcg2OPGk525uEkWFvsAt+blbGNVrEl2pauybJFASbaaL8FZS4RRHGpyHaMlXL5eALYVzdqdK7aG09unJOQDud80m9BcBzmFoEFGsgAWSBiTQs1X9NN/SC+ukZV2OdJahiloF+WiT3MR7UAOa0qnhj20skkczPJtnZ0VomCu0UmPnwyhuDj99Ptr/6rPNtJVmgHqlGUYFgCxzU8UcSKFcm78jSw05JHV631UNWacPAJ/iMUm4U4EFlUZDIIWMjqvN2qqfAHFA83pLueqNj2k0z/h2gyGLANkxBL2jEAgg2DfNab7DYRNGHMuSh6sIwuvSLAdh7yXontN1wfebZ9MO6MKw4k5YRiRbCssPrHkLweLGRN3fHJ0O+TiK/N1YF5vxWxKgqrKaaTnziK7QBVg3fnjR3SN8Wj9SzmTjS2EFHuQgKeDHjYBPzACrJFzb4J2W0hD7vbszmJmOEsgJdcbQKZAuRJ9uONdSfBKTuDt849qSEApi6MpcyMQ1mmyAsHjEfpp6VUjRk07fAjWOFAuSMQRiWsFWXJCuSNQADSsxa+Bfmq0z6K6lZY5EU2E/GxXIMFMjkgg+a9MccYgcedLd506dGo16eMiqO0jtYQIWNUmagNdcWASC2m3UumJHtTLHTeiuGamRVLg3eD2ZKNuWBtjzQA0sU+Cs3GsZHvwt1YOJBJK1wenSuxA4SOQ815BKobHmMn3J0l631R0SMNIw3A255BZ6xaR3a8QMHCgZGuCboA6D2MsX4PcI1jnWR3JUjEUkUbOxBWMBODYs2fc6L6z0KVix4CCFRnlG2WaIHk/8A5CAhYfdv66z4onyyq7naGS4lQBpvT5DCyy2oUm/Jri+fb31AkjplEtPk/hCwINefHsLF8Hz9tWmHaFuobSJz6bTGRo1QFXjj9OULYPK2ic/cEe2g22rKQ6PEyhmZh5dI8QaFLQLWzMTbfKCOdIos21CjZdPUZSq3KNZWqxAkeiT+a8bGPi+dHRbVGWMqXJl8L8pXH8M5kfdCPHkH66j6RvjHCzo8YWRochJ8+JYOVC0aQmyTx+hvTPf9WikneTcOkMjoCgZ6C2BVUBlS+3Fk6bamgJ1yJtz0VQ+WLBak5BDHJVJAoXQ+Uk14NDm6StgxBCYHFQ1tkPUru4Hy2bNNzyPGnu3M00jpEnrDkMQoZSCMvJ4YnzV2a8EaGUyRMXl283IKC4S0Q59saxNjmvp+wg8ZRpU+CpQ9SIla3IX2H3J+/ihr0Dp8oGwkidFZpSjBjIRQA4BFUTTH3I7h9NVH/wBoktykZB9/UcH9KP8A1026rIR3t2UVFA5DiiTZN3QBrxwBrTkuYiJMhfYytkyJGyJ5F2QKFCuP/PbXWy2HU5wz7fZsY8iAQkZFjg0ZBZH6Ei7970J0lX9WUqWIe6LEg0fHvxxr2D4f6nHBtoo1kelUfQ19R41ya+u9FWo2V0nK/a6NQQBRSih9tc73demmdFgGXKvIUkKW/wB28j9gda6XI/op6wqXEZ1RGQ8kH6e/jRLNftr1rPF7mWNRk91+5Fft/wDupEgvzoiPaj2s/wDD9tKFIWbsuXjTEtHKWSQgWEtGZSa/KcSv6sv1002HRvTRVzJCqFFkk0BQsnm69yb0SNuv0Gku628pn3aAyAPt0eJsSYwxLK6eMbOK8E8Bj4uyC8YqsnUfQD6LWfxfUjLMPMgidVV7AAzaJQW482PAFWKRo0jaQmlUFjwfAFnirJr2A1WJN8Y22UskqLhC38SGfHj0siQnuSyXj7BSR41V+ufHDPI0sJlSCTbKzWFrFlHgWGDh3C2GI5aufCnVGLYy+Netod2kaXxE6A5j0z6iKUYAeTmyfMPC2OL0n+DviFFkWJw0pzPqYl1yxvFaJCZAgAZEGkJu24T9Xm9ZtqfT9IvtWQAsFcTJlHFkZAClMqFSWr2Hitbn6NI8O5waNDDIHY5sZCuHpSsGUlsFZSW8iyTdVal6pUGbrrrb2KYsoilR45qYFhUivEqKx/IAUJJyBZbx5ICHedRkWZg7ktjeQILepTFOCKK5gMaAsi7vnUhT0jMzELUDiP1Q47ezFY6Fepmh+QkVldUdddZRo5FvuCfNkSRLEFr1fxK8hfHHlqsFSRT3WuBk0o/Mzbz1HIwjtlVc1VWR1LteAAr8MuxITg8VZ1YOn/EboSVeRSpCo4BNxmTJqWrdQ1D/AHQKpq1UJdw4zU4liM3BQePw3plbsKqysQKK8tiFB5Z9PkJDSPkWwc3HRN4t6eZemkfIljbse7trwC8BXuwWDrPSz/Hum22ob1GJZ1rLFir5AepWGZyPtf01L8L/AA+snqmWRgYPRzCkBs8EtjSmzbNyTZKkke+q6vW5YgQrGP0oiqqDUoDDJFIFAMvoqSVskHg2ObbD1fdepP8Aw6tNCLLUCxkIABKNd3jkL92APubMavIs/asB3XtjAJlhykWX0gy4oXdTK6xZX8qq2A8/Q+5APkvU5n9QKiyFVN0DTWhAJy57sqN+3HA516b8X9PlZ4p1FsFGaLVn0Czx2GUH5mDFfluMc3zqqfF3w9LuI7hVXG3GUvdyWkPzKoNdqim4BpAea4MX2FnwmKJeiuV9T8QXC7HvuR2CNK134BKmx54PGhtk3B9RJBkKIWrC2AGGRrI4P5+/sdQs+7iQxpNlEwaMsh/DoqS4tlDBcWJJqq9+Nc9I+JHhVYmClAaBxBZRbMKNiwGkc8/zn24074JxlUrGPTN086MqcHKBVDX6ad5BZ2IpVOCWzWTVEnwbF8N/EkcE0Qdcyh9QyKWpWZBC0oWPiUsGK4jwEFZG9Vb4f6gzMIZZWSIuC6gnE4AlSQBbKDdj73550w6P1l52ZSMUaNsmIY0a7Bjl3U35j8wNHk8o1WSikpYZ7Xvkg3xUeorNt5gOLwMnBMZPIY9oteSOLA0D0zrboJLhDom5SIPTMXZ2HeAOKOZxcCj22RyR5p03dBZ7iZizOxshAnrrI8tCzQDAIC8bCgvuLOitv8Qgu5bAhJ/VUSAAGcJ8pPCRuokrkVYNCxwg+3sy8ybs/wAdCcysSybhGOR5czLuMaAo8Ko8jHE/prnqI28kqQo7VMrSsJCTSxth2gg9xYEUK4LEcAjVTj3AZMXixkO3LmRhciupjODWAz4DgVxcrXRFnmHf97bpQ0W4jkqKgCJAMm9Jq4h7COOB+JRBsHTKnyJtayh3/wCnkG2bayvuWS5JJSVJqMRx/hkUTTiwxyq6Kg+Bq/8ATo4/4YCB8kC9pBLUCMgODY4I4sHnXms3WjJstjCXSJZUHqNlGHMzcucSKHcxoe5YkihqxfC8kxhlWKmhfPBmKmgYkSIqq45IMKIyWyW54Fo6WQ7Wyv8Aw503cPM27khIsSCIvMQ+BXLMee3uKnwafi71Inw4rg1IYpppWjWMsuILLnI6j8i/mx4N+RZ1YW+G551haaOFJAHWQWGRFLGii4m3KKoyJtQ8lHnS3qHRpEG32rwxS7eFo7L2fWW7d3HPNjIgAksa8aW48Io3KTtiLc/BaySkLNDHIqk/w54d8LS1Jk7eFs9oAsDjSjqm1WSWRD8ykdp+pNcMPp4u64OrbL13c7qKPe9Pizji3EpxoKX/AA2jFlmAESg0eLtAa1fJkh3O19aVBXpljwMlxBsBhdEG/BrTtWQPGJNq0FvG4j9PuFOMhgMSavuNg+x4OrB0vf7ncuI19KVQKYOny2Ls0PPvq19K+HpYURpVWRCciMjSZ9xLLib5PLDwNFQ/DEaGOYIcgxPabA5Iv61Q8eNLWDWU5Pg3cAlWRHW/mBpq/Q/8NI5unIGCgkOxVxmeCoAKsB7CqHj7eeNeo9S2ySxyCJ2DtS9rV5IBPJo0CTQ+/vrzv462bOzvH2x2YgxvjABvp4yFUDyV+ulkqyg3YQ3w6VQOSoJFgCgCPY3oKuBbYmjwWA8Ej6/bQnRdg27VL9VSkeC3mvcS1sGUUQt/Kf5vfU8G43aAqXmSiaUJlQ9ucPNckfUnWjHuxWy7xrfvotEGounSRyIrobUj+o+xBFqw9wRY0eq66jzVExFH01J48D9tYkZPgaG6l1yLbNGJQfxA2JAGNgEhTzdsQFAANlgPOg2WhCwnpm4WeMSRsCrfuCPII9iPcaS/FnxG+xlyOPpeiS1qeHshDfgFmsAEc4HXnI61uWimEUvpIkonC5qApkJVKYfmWSMkjJQbJxrgMOufHj7mLcwsuJkYekUCkqpssr3w3KHkEkgiglHSnStOngtE/WP4np0e4OIV45Y5RJ2lpPSeMqAKY5M1nBhwOPrqizdMUtIFiEeGA5kyRVLUTZI9SlQ8fa/5dG9N6IN9t9r6EhCQrHFuVBTlpHhSQhhIXBJjDC1AJFjydKd06ruwuBxIdVBIEhAciNyrAYhuSMi3aSe0aDLQRN6yLDYhI9QzANgDX4kRjay1FrhIvK1s91+ROnTOF3Kq8io0SgyKeQGdXUSW2TENaUvnNya51Pu0YbHb4yBkZ3skxri4YkgizZBfiifJ4B4A/Stm8hkVZACkLOyNGzKcGph6a+eVUlqsWPvrZHwa3ziRIrxB7VHy+ljGQoUHEEAZMSfb1D55Jmh6wyblBgSPrO7KqH0wgQuoPaCCABfmuSSddb/ZlEeLBFKOrj0x/wDWUX1BRkoMAhBFZEp48krpRuSZJJldY7OQU1wiswvPIg4qAAR+UD20Ld2Ua0nBJWpd+KGcMBuOb0w0MilSWVm+VSuWR7+aRgQRfF8HRHSd2rko4haQoo9TJUIPqWxvlWtBeSjgWeRyLFtN/tNntA0SYyTQxsAJlZw8q0rhOUDUoIGJXtFAmxrXWPjliZikZWMxhS2N26uyOoeNWxVlFgMwu1o8nWrIq1JOKTK4+3e3AjIU5r+ICqlkGPyADGigWyD4I8HXEXUkjhkWeCyNr2DAtiGkxtQw7ARl8vA4Nn2Ih2bJJt4payWX/MDLIBFIFoBWUqQFZsiR7P4+YiT7g+pMIZGZs5IhaKHkxYAH1CpByLIbsGgSTXI1UC2y7xdflXa9NRVBEtK2WOLKyFUUkng2yrR5sE1xRqm46cYS6cySyAxkyEMsbqWjdlQjFgzE2GuwSOL0p6VuiYDODNEqPCqkG+/H8QBjygMbDEe4I57dEx/FEczi/VzVTleI7r7iWY8sSf11rafA+np6coyt57X9RH1xGiB26kGOw+Vd5JjVD3Xyhx8H/mdL5OhN6ayIcuxnIPBAUgUP5idWLqO6gaQfhu7VQCyKW4HjEG7r20u6h1BcYgiSQ40y+orU4ZxRBAsVywI84kea0252sA6WlGErkm6xV+V8kuLAtpHJECSKc5RkG/VAIXjHyAbC/XytVemLdAwPe5VaKnBTJnJTMyKIzynbRs/cjyAX0dY0/ElUM0cX8QCpag9s8YYmmoKihV7gTKCb1F0vp4EDZFzKpe4ngLRECPOjIBauwDdysCo/2jqsIbld0c+EGxQrMaLvG0W3iLESIrM8liRaoYIGIWj47vOeuoNs38SYM09ISJeKogWjkKo1ZwNsxqr5Hvrp27XcFHKj1I7YMWelDEooruMpsHlQrEvyTiDqPcbKNymRRoI4EEg4zVmV5FDMnEpLqWsZCl8CzqL9rpleVyMZdxGjHECVg57ZEqFcFDsOSAjdqmyT4JBGdaD2O8YRRembCxZhhEvJ5dlAFFwrOIihIBxY15szb9Qgk3ZfKPCI+XQoZC4K0UN2gVSCCK5UWND9I6QZ0Kx3NI7I0K2vyCXkEo1KQgZitH5iaOlk03gdXQz6ZvWEjMXVUVAqHEFnjlaNsB8wUM4KWWIpwFC0tMPhn4wO23EUcuCxSs4BXhc2Kngex9RmLCq7gQfYC73fGANGkapHSeoHGYtXZ40IZqEkbVz3Z2ee3gT4T3PpujzK7LKBEHW0LNMqMFLMe6OwCGFLbiguR0jTayG0uD29Tf8AYgiufeiD7f359tB9agDRE/mUWv8AtAeP0OlvRPiSKRJDkqrG+J7gQpoHEtVZDIce11qbdbwSA04FqwFYkgkcEWcSb55se2p221HgXbWRbsN3hE0ccaLlkz+QCSS7kAA93k+9k6S/CG+jR5toJA8BkZX/ABgXLnAuFFBsBVcAeTdtZ1ZUgUng0R4Ni7B4PbwOKPtzfA086ZMDwwXP60Lb78Dzqrl7tpNxxaCqBOPfX2JH9wb0snWHblmkZQCPB5ckHkgDmrr7abhDndflofuSf34/bUG92UUwHqKHC8j6j9ua48e9aoiB53u4USb+I2O6RQKMkchJbAfNQbuurq/H1rjSqPqLSQ7aJlWMHcqWOTAvTF2yIII+bz9SPNVq3dS9TcsySQhFmlSONDRkMYKtMxYNS2ikYjwRySTQq3UPh/19zOEIRIbxGTcsfmGd3+554GjJJDcD2FUBZlZ+LBjDHG+OQPJ/XzqbbzKgqpASbORBN0BfcCa4+uqj09WglH8RFGVJ4RlJk+xF8f1P769A2nW45EDKhrx3LRH2o+36caigsrnwbs5NrB6e5xzytcPBUi6P+sCSL9wE+lCyv1CJGRXaNDJeORonEW1Enkgc1rieIBHJOChGJayMRjy3H0HPGvIOtDdTGGCamm9NaEgPcU9R7YjtAeInigzBUu2GWrWQjHdlnpnwj1d2aTbbl19eOR1UWgkZAA3KrwWCspLAKCGHHk6i+Ofh4b7bB4GDSxMyoyEGiWCv491dBx5FEfpR4opW3G1DuwmQKFkIdZGjCEohSvqmHqVmQwJvGw56Z1CeCPqZBeM5LJDI6ktIxObFldflAGLGr/ENHhdLyX2UxV8H9CbdQOE7GBMcgMalSRTK6vVKeczYU2f3g690k7GSNfSrOgpD5CTCu/EilOUl3xWRBFeWew6h/wDMEm1SWCHdgdkbQ90lDuGRaNCS4v3o+xGrf8Z7JDshJPHCDEysBNJcYs4kMa7zR4XmyBoNsssStnnPRJ22zJJIrdkzJIWLUVEazKuApSp4+Y33EixxpR1rrLjf/wARtPSsMPTK92NY2imgrLk5UVVhq8jje9ZhFCaCh1fAIgvjH1Bxxw6VweKAF0dQwSAieSO2WMxu4NgW6uj1VEKSQf8Ac5JuzXSklLLF1I2rRZf/AH9DMjmXaNK6jwcSqSc0SxFiiL8A8aQbbbGOgsoWV4+1ispkkWYiPFirCjZ8gHnKzxRabtpd105ZmjJxxUSKVdTjaySvGyAqw9Pgo3/2fbVegQYP6gyURlaq6YKQOQT3gOwUnhCycEeNPzd/ahk49o15yG9Mkl3249MLk5QKcvTUIEVwfPlu5TyC5IaiPIY/D00kdpJ2w7gyRzJKwC3iaYsB2kspQPXcGA5oaS7TeTYtEQY45Emb0+LsrmXf8xNIFDMPrQBGmMe2PpxMxyDZDLtyzZ3aig5x7gB+w540q1OllK7waEY60+m3WLRv4hatwY4wewCNFjjcsqwMwVASC1jIAvVMReXnQTThMY42uNlaYhAAkcmDSAhSuXEUSNiWpiL50b0/qypT2qtKcBI4yIAIckH5s8VoEc2eOaGgmWVxB6MiqXTEqeIwYyUNccqAxYkmwD9uZrU6mao6NX0/Rltu+CXpPWZpAWUGhIGEhZiVkxVFHqVR5NhOOGa7A0d02MSTxxjsjENn8qo07j12Wl+XE2Aa+QAeToKXaEqVVZvSaRmmLtGLKA2+EfFE8fmHA96Ot7Do77gSCeT0pVaKJlkZKlICVbGQPl4PGVVQ9gHOd+CTYbgAwhS3pybhm+aQ20bB4xjHLiHRQBnQ+axeJpluOrvvPTjhUeskoRHdIhA4ckAP+Fziii+R70DYGlGxiYNGHchY2ZfwzgSHvLvC/Me6uD4486m2O0yaSOGMlwySxrZ4UBLYUQGYAtQN3R+oBXcrBXYN33Xpdn1Hcpt5FitlNRpG6onzCiynBAW8AAgVxwNJOt9Xn3UUrbm5ZY8ULYItXkS+IUE0FGNVxISfbVp2QU7ZZJXXlHd+xBJ+EBEM2r5RjZ9yQBdAgon2iTAO1hxMY5Fyq4wFkaiF7QxLCyGINe1AM5WwUksgvUemyRbYxtzLKNrDTkKY8F9Vh/LiAIxZJqybHI0rXdusKGGNkANsA34bkRC3NENZBLWKxyI1aN1vEidJYzGDA00wEsh4Mjmo0BFMDQJ9z9rJMXoXDHuJAAWdSFE/nJbUhEy7ivBDRilAFAAHRWpSrkZaSk8OgNyPXphLTkYshfwGQBqFgByvcaJBfkDxqTZNkc41xKRusORRYS4CsxK13O6S9vPdlyQAaI3WzcyMqp6iSqfUIIWJm9SSaNcwSA1xs5rzQXjUXUFhl2+3jhiWP1WlEchY5mSywJJAbFnYIvH1JHA0n0Gkq5AN7B+AoTFTIkSMfUpywzUtwQMTfOYPBADDnTCXdbhDEBGyXAYoVW8ikg9QOsii7dVL2eFsk1ydQdX63EHbJpFxUIuC42uJBTFlFgNZz8kSt9gOoIWO0k3FlfxlXbvkFQ2zK7EHiNAPF0MjQ8UTVIXdk3t+oBIWamUtt0Xljkxp4jNyCoLFyo59ru+NCSy5Sxicfw4lQJKQrHONVC5FeGQAooryLJsg8u5tiU2areZdIzEqD55ecXZwcmGZL+StmgdLv8UkdJ4z2MZIliydmQuJD6jmRgclGPuaA4o+SYuOb5DJSxXBGxdFn9aRwkR9IxjFsmyDRgUbZVWJO4qvIIu7Gpd/t44IY5Wj9SOTxIAo57rXAtlxg1miPvzrhoPUaQr5WLl4kEls5CAoQQzW5JL1kC58itQy9HMbQwg+pkiyO8RMhHBYKAEtfF1RJsXYFaCnQHDwBbXfpGcpVyUk0F80eQPmHjgWPOnXwt8RGLfJOqtguRCP9CMCPqCVLc88/bQP+FiRWlET4RyBBWbFLBP3YgUASf5hyNDDaqsyotBucqa8SF4BvwwyYEexBGi2qErsfTfS+px7mJZYmtT+4Pup+hGtwbZyX9QKcnJqie0cKLNflHivJOvAOm7t0fFZCtWD3NjbDHKgw5A5B/1R9NWzp3V23G7jdJHwSWFMbfxHgGsH5rALE1zzpHKuxuna5PTetQRLE0rop9FCUscKcaFfT2Gqr/hDxbGN82QumbkBSyO/cO1gQVNhGxrwD9dC9Z6285lh9LON5UW4wWkQEnJHA5BwFiv5T9Rdln6ltZUKt6qjxRTcJ54o9oNf20yyJOLhhlO3W68pKoDWCGUDG65u2Wr48H3++tRb7dRdqKuPse7kfXtPP66F+INzHFKsSMZUdQFc9pX7MaAJHjI/8tKTunHasppePav6GjY0lO6oB62rfcD299Vv4w6RCu3l3IVRJFHkhZmC5qxZBQ5ouxFDzlXvqly/EsW96Z6M83pbiJ0aJ/z5R9wZO4U2Ni7FEjVm+GviGDf7dtqWlDlCozI9RggAZ1mW1fyPPdyby86q1QsY9ysdQ6usmyj3DyF5nkaKY3RijUhqUoiubV14BJqV696sfxHvS/Snkf09wTGhT+HZlYIzYCUA3mVZgcSKJBBPnVN658NS7OHbKMXfbOZixjYM4Vg2fki1sRkeWAjv5BpEerzxqgil5x4jXFs3ZgPS9JfJBkN3fdmfmAGlLUmsYCtruXh2wdTLFJHuWbMoCpBUFWxdLEhMagNdc0QfOt734rn3SIHkeQlmjVOxh+IAotQoDseApNVya50u2CMVnjd7jaONnf1e0MrkgOWZQ95UQtmyAKJNcSdQIjk8oQzeVAUOSoBx8tIoGRZicS9+eW3yH4yND1hfTjSRRGVUoFAdmWaR5iWsyHO1KFgSaZiKXSnZloVnjdqXCwCynmw5agTZxSiRda52chZHU9tIG8HJgXTEkgc4kLRAF2ODqCWMRt+I62B8rEEsbalJDWoIC9x/n+lnW5wZvaO9vstxtw7ruhijBVgWSRlZ5EyCYJxkAWYkCrQ8g6wo7ONuu1EjHcSn1ZAyI8zWKrOqqqtsr8UTRAbpJ9XEhvQLkhowzAxqrFscmGQal5L2tHxfMkm43MqxL6zn1y0qxBSB6iWbDUAFGPzZEjEE8c6eDi1kzUrwPdj8HbhZA8sbYwIy9jI2ScoLUG/lJY/ZEAo+COpbRBIMExjIYYh8TCgkYWqlgRK5VlBsUFckkXpDD8V70EbV3c5Ni0ciq11+VieWQ+9tiQbNjQe4Mn4biIDGNV8XgFpmHaAaxYWPNNR50jafH5K1tfKb+RPLB686TFmb8UOAFohVVZJZZFWwi8pZVgRZON8Drd74Q+lFgWEEryAKoJSK8vJskG7YeL4J41NN0aXaSiJzHOkzgFQfxWQnGN8Caj7gD818LdUNCpHgscqxZwh5jlRyCjyshUWB4IDL7L48aFrsIrvOL8h2x2KSQTMv4ipKFU5CsVKyKqu1sGtnFsoVru78a2W5SKYhkctRkjGZUhzTQoyk2QlkEAg8tZPFD7Hp7vFxGkULqGEhoqzB2Z29RawVIlZcG8ZDwXGoOp7ZiJWZRapHJzioxkJKlRnTiqrHPx71esZulQVudqZNqkyEByzh1BW7XHtrhsx3GqquebLMJC8iGMo2MhXgliCB5yBAsEEMOL8gjRGz6o0W1FMGzlXI/KeY42rEMMyptcyGPBqhrIJ5hdyRoCWbmQfhRqSGYBbLp2hQTzkKI5s7bbyQynf4CY0eaKaSFpMckXvpiCR6khwX5QPUuhfggk+REJZYUijxJdS18HhixHN/7N83/TU3TJsCyZMLtgzks2ZVVLMoouQqmhxybF0LkChWZQrOWbtZO3mw2KyZZOVoeAFNe/nSWUqL7le3cLNI6+mWSwrM+V5oVEndfa2d/fu8V5d9W+ImklhEyMACS6JxiFHZgQvaqgquQ/Knn31Bvowq/hoGFBhGcmc5cBji/P8AtUSfrS0IP49TFSRnInJMGXIUlYkA2UkZ7K/rwKvVFkEXtuh3LupPxaiYYhDBeIwT0mRcUUlR2uSfqMC3NAqthvGbbGF8o2EqqXYglWkdmaw7KYipTJiLsE3Xza1tRMUjY3x7R3m7u/pvkvBaUNFdN5yBJ45yLpon3EvrPUKSepJlIBwQUBAUm3yUIWBPze2lwWW5q0dbgJBuzCIWklkDQ1atfqMBG8Ttfzg1X0f5jfDTqnR3hhhhnLxOEaT08R6eFsSoKg5PkVBp/BXtHDaVLvktZIY48omKxBo48WLSO6B4+RGUJZVYkEkjk1Wo99FLDnBm7kJyULvGWlcR1nXiolAb3oAVp6TJNtS7BA6oxDSSiV5YyrTFi+ca5dig1+GSOARiO43yNHdRd/Q3BQZmWnD+mFAZGQlRgSyquYKgHzbEnMDSr+GEMe6UoBI0vpFslXCIx3woLKYwVIPPPbZB8HEesXgeSPawWhxdlJZlxCYkgyFnCgF2NAAWSBjpaVjqToI226RVeVAxm3Kyqn4vfgiovAo1KJQVBagVJ88g66LDMduZAEkLsEcFvliUYJEMTiHBLDv9ifPsH1/p8yiIDamMq0ah2ezkVyUEAlUvhrSxRQGtEbbpMke5l24LkGYHllpiQDZINg5V9Rx+p0G8GwshvQ+jzIZmdWVkkJjGB9OyrKe2OzQlKsKIBw9stcdM7dxLNvIFmMmd+IwJKVlIYkUmClKsnleDzY0u5dtwUujwoOR4I9mNVRo+9EVwfGtP1VzKec1UgICQeSSKx5BvJua8AXqe51wS5yWLbdM20uxsi5ZVOLqlViBHI5KjFQGPCWcsTWV8GfAsmz2m1IaCU7ko8pDRysoUlggEigqiEALkaP1rVe6d0x5dvLEajEKN6ZIyLS5CUluCVBBKkKfN2CfLfY9WWOJF3cjrlC0XYbUGalNohIIA58Gslrw2mTxRXbi+5L8Kdei29fh+u0XqEPGRkECBRmWrEhB3fN49rrXqHw/1htzF6hheKzwH4JFC/PNhuKIFVrwfcbNTPJu0iKwLuDgoZUiaJXkhAjwBYmgbAI+U88jXo/wx8RxQbYgTbg+ngrRywtcRLBMQS2PDHxkWo82dUS7EZ+73Fz6xskkWmiEn6mjV+QfY++vOupdKi9V+2OTuIB9QqQB24kChfF/73nXprspJU/MBZH2Ni/64n9tVXrOy2iy1Lt0LUO4tCMvvTSK3m+SPIOiSR4MFIsqHCigSfIv7gUPBoeRXvWj9t8SttZ1mgxQqGIS+ACAPT7vmDHnj3JPGod9vFlQTGHEs7kCOZFjBUDJjFgWUG7ALi744GlrgSLYP6H/iDXNEfT66PJTc48HoXxP8aQbzp8C8zP6mLZCSL8YAY1TUeGYiy3yi6JB0kbr5VoY3CF9uJQk0ULM0fcFWQ18xuOgQFPPd918kjKtUpR5FkVY7HabRXWOjgO9qUjI2SQaB0qXdvllmbyVkYuMUbIvZJ4u7NHm+a50uClYJd1EzlWCMCUUKSxESswJlJJsUBldMAMWJ8Ea0kKOm2FpiqyWFR2IKuSZXAFtnWI8UAAaAvRjbkOmMsglp7R5GtVC2XkZRbMXNWCCTiSCb1x0d1dhjElorFlAILkuZAkar3M1DAZE/MOKAo8mqgjZbXFHWZvRLYBMyoYD1M1DQ8MgbBBmRiASb7joHdRRRuwKKrOe8yBmCqwHKqnPcCSLo8g8cEHKjs0800fC0DFI3LSp6eTfQjgsw8AuF8eB5ZMpWAVGtpFRqpWSTIZKuOUhUENlfAVQANI0FpMY7uZJPUj24/DZhkjKVhXHErIbjDBiqUQS3nk0L1N1jf7fcPFBstv2Ia/GYgEBLJJLkYFQ1NxzXHjSibbJHeLBgSy5Mvc6+CVyFRoGAa2I7X82DrPiDY/wsyII5FZUOT5G2PNDgUhRGUEDn6862nFRVIE8dwrr25iVI5BGwf8KSVCmA5DRlQW5xKrSsooA+55C3cTKk8aMzosRxZkbvViS0rA15VmK8DkRjXXQukrLuNuMi3Kvl5XGNe5SCMvnVUHtXjWtltLkVcmeR2ckEcGkLEE5d7B1XHjzfngavpTUHdCyTk7C+oSYRZlEdKEaqwbJQbbNCGFHFK98cqGmvTJWi3LelNHHGUkEiRqWWNQiyylchXpEqO6zytV4qmbhmztuPSoU9mypJrkVXFY/oPHh9s2PqBiEaOOJ56j9PhXjzKm/mZTS4t+WPxR52pKLVRVDwbk7ZDt9z6m8R5hn6gNkLw0sgIEjAnvNOG9i1AcHRu9LCKFSyvhGHDkXUbdvgjjlWpRfnkjwBR1JnjaCS3W1YkjFjS/iU0g7GCA+aFr4PFm7LdwyHdOUKQpCWEauTiz5IkIYqcVJIBIq8BYIvUJWGDTdeQKPqZC2yBkZ5FIwjAWV0Xuyq/JF2OQK9zrIpGMdwsjy5qwqKse4Dz6dLbkgWRwb4JIEHSzI0QCqSgaRmvCs/TpgMgb/Dw4otdlRYvR0MLQzOqUU7mB4A5ziT5+00Hb5uOTfm9M8CJJp2FdH6iTvvTkYMxcDPkWWpTdMGHJBWjd1q09X3wVU4BF3Ry+QGkVvm44eyQL48aofQZfU6mjysopnlLeEGAaayAe1Rjdc1QFaum/iLz/iYsywIpYYm2ZmcscRichi3HBux7HXR6fRepJRic+rqrTi2+CHb7yBlknSGEOGjRioWnckl0y9MYlrHnEGuMTwYBJs1cjBQ3qOnpxyqssZFjgqykg0RVE80wHuUnS4sWBQdwAYC6YLVX9QK4+mhZvhbbMb9Ojd8O45+vDedeg/hur5X/fY4f/R0vD/H+zsdB2n8MqlGJeRO5JSQGrEBo/WLIB8tk0KscDkkbJHftMgdO1UJUxAHuyTKMqW7iRWVlvm+o7fDsQVVIYorZhC7Ylv5jRsnk83fJ+uoofheONSA8hDckMVIujz8v3v+n0sFH8O1fC/kePxHSXDZPtemR+hHGZGAdmtW8vJyQGbBfUClTiDXF8EAa5g+H5Iish3jGRZXMZdUOLgqkiP+JbKQQKSvP1JGotp8O4Mv/wAiZwpBxdrU+ODVErQqiaon66edXVZlK2y3K0hKt3d3lDkpBW1Uih7DSP4drJfp/I8fiGk3+r8CSDpmSzhhC80rOLJwj9PnsURsQFsEglhwa4I1INqZduqYhJY3ctiJcZFkUrI5DoMpTi3y3QYmqJ1Ns9jIiLGZRQVvlQYlryDY/lOXJo0fp4qJtruGhNlGdQFU+wClSinFQQoK/Uk39qM36LVX+DKr1ulzvX8E3xLsJWaOWNIpFJje7wLPaqRID5sqI/via5PPLdHlk3SyM5hGLMpAQk0R2rywaw3d54sVzzztJZ1LGSCJyVGJWRkUPVElBwynk+1cfroqVyVSsmtLdCTiHLC+bN0CaNeODdnU36PU/a/4GXrIfuQm2HTrXCSCUD55CA5PzdguzmxHNZcf00Ft9mUBwj3CU7LbxRX3tipNhZKojmyASKJrTv8AiiYijRNyaCmMMoWzxQGPIo/a/tem/wDErOtq+KqjWXullyJVytKVxIGQ9wV96OoPQkrw19UP1VLhoq0U3orGyIjKvm7IfiyzBTyxUXkbr28ak6/Cu9RBA0duEDxrKva1hmKxyOGKLkR7WQfHnQXVYp9ssa+m6SS2zIw5YBn9MWLsnvIBI96sc6nh6pHAU9WF0kx7sVjCk3xTC7NWTfNjyfGoK4rgdMcz9LgjgjSKbBdvI2UcrKpllq8mZW5bEcUTxx4ABWdD3EwA9NnUyTc8qWkjbM0vaxDjFiQeBjfFkaD6tP6qkKjCNznZJwLd3dRNFqUi/PafpovqvWoY+nbX0dsU3CAEv6dRDEY+oFf5ybDWAQG+b7tHPI++uOx6l/6d/Eke6gcgsJRQKyGzgsaohDUAysFL2Pdzq1yS2e0Iw+t+/wBPl18+fCO33Jgk3EcYdlBKRnIiUO/eQoN4Eqcl8NRrkAj2zpe93fpKZYtuXIu45ziQfFBo7HFe5/XTquCMk+fJ4J8MdVj/AIXfwS0C+BiHIJezERV8ghuQTxZPtpeqGONVMbiNcrfHt9RiATmBTfKFq+DxrNZoXkqv02S7a/XDOwAWN1piwAbFlHyc2S1G/IyvXG224JMqGjt2iYljTv5dyrY/MDyDVBTZPFnNZpmHTVqn8wbpcPqTg0UiRnlNUzBF5x7j7CgSxrzZ0yXbxYeunDqLTEItguO9kFYVTIAoJJVjdVres0rYYpIYdWtdvEko9OVoJZIk7SXhljYLeAJSS40emoFW/mGq3toiyukjC1jXDzQSQmRms1iCvbdG/UUe+s1mmqhYtyZNJL62cjSFnLIRyQwsMMAxFhFA5a/GIA1x1Dd+o/agVAvyqpKgjmRgPC2RZxoUAPbWazQCMOk7DJdyWN+qoRfymR2UbmgaNfIL8JRBPtqP4a3cyLM4iWWBBciOFIxelYgHy2K1+g+us1mj3BeLOpdyajaKFfSgObo5IjYq5EbuxI9Ru70qHP4ZBu9DdY3RO4meIs8bKY/UHi2F9zAYk+f1A1rWa1CqVjPrceDJGsoaMsIczF6bmM4jI4t3x9zCiQ3t4OuOudbwdTFDDtWdSjekArhclNlQPwWIquSaJsnWtZovmhmtqtBvSPhn+HA3O5aAxY2AwZ5MziFBVSMTbEFrYDA8XzoXfTn1lMcZWM0I1JByQOyHF3sOeQbPF37DnNZpHyUS9oX8PdPEE0sk6ZhID6i2i8TMgILf5asEZrHjiq8jVgVV9afEswV1TJjy3pxol/Y0OR9b1ms16Xw/+6vueV65/wBJ/Y6La2XPvrNZr6JHgvgxZiDfuPGuktiB9dZrNOkTbJZF54FDWpP7VrNZpuwq5IJJhXg3ruGTgk3X0vz/ANtZrNTZZPPBz65PHv8AU6kgBIJ+n/n76zWa10ZK2cSxZWCSD7MDzWu9i5jcV8osMAeCpFe/F/rrNZoamnHUg1LwGGpLTmtvkB+L9hGIxMMh/lBpInIX5SsbleV8MyeDWV//AGEijptjKkkjySEIGJIid0D84qz3UeYHnn9ONZrNfHyj7j6mGcEG2mkDRy8MIqVQfGIYtiQtZAljdnmzd6fwfGQEhk9H12nVoiJyGxLNXYVALL3UQQLHH31ms0haqWPBY+mx+ohT+GCSze8bCPbsYVuyGQYRY5GrHhio8k9y/DW6kCeru1/DQIgiZsBGvygNGAHAJPcbP18azWam5OOUWj7nTP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9" name="AutoShape 12" descr="data:image/jpeg;base64,/9j/4AAQSkZJRgABAQAAAQABAAD/2wCEAAkGBhQSEBQUExMWFRUVFRgaGBgXFhoeFxoXGhkbFxoYHxgcHDIeGBkjGxgeHy8gIycpLSwvGB8yNjIqNiYtLCoBCQoKDgwOGg8PGi8kHyUsKSwpLCwsLCwqLCwsLCwsLCwsLCwsLCwsLCwsLCwpLCwsLCwsLCwsLCwpLCwsLCwsLP/AABEIAKgBLAMBIgACEQEDEQH/xAAcAAACAgMBAQAAAAAAAAAAAAAEBQMGAAECBwj/xAA/EAACAgEDAwIEBAQCCQUAAwABAgMREgAEIQUiMRNBBjJRYSNCcZEUUoGhFTNTYnKCscHR4fAHFiRD8WNzsv/EABoBAAMBAQEBAAAAAAAAAAAAAAECAwAEBQb/xAAuEQACAgEDAwIFAwUBAAAAAAAAAQIRIQMSMRNBUQQiBWFxgaEyUpEjM0LR8BX/2gAMAwEAAhEDEQA/APTxreuc9Znrus4aOtZrnPWZa1mo6rWVrnPWZ61mo6rWtc56zPRsO03WsrXOetepzrWaiUPrPU1HnrRbQwNklz1sHUGesz0KDZNnrRbUOes9TQoNkutYjUfqa0W1sgJeNby1EG1megwo7L6jMut3pZ1WckBEJzLDwa8FbF/odBtIKyHPJqJn1R91NKvP8S/kihI1+/t9ARWmfw91tR6gll/MAob2AHPtwP10LHofTtxpN1hzhXNZD3seL40x3O/DBSrAg3z7HVf6vugPOI5Py37Cufprn1E2ysHRB0Nb3Uf2yb9lP/XV19Q6qnw3F3LKObLJ4aqADEilNmlPF39tN95upAeMlGfP4RrEFwRkTwDh83nuGjCaiqZpR3O0NQ51mWqTvuvTKHCyOCIyQQmQyJEakn2pmBr3rXW867KudO5xikY0gY9qkjz47q/U0NP1UL02XO9Zqi7rdM7wh2LEfNwT2imfgEAcA8nx7aBhndUgYM4lcKAQHbkj2iLVxfg+NbqA6bPRDz9TqTbpftz7cf8ALVFl+I5gjuJWoyOF7fy5lV7a54H9ddp8R7iPNjKwKIgsoF7sAzHEggctX9NHqYB0y8bi1UsylQOSxHsOdJx1qBiAJFJJqvezqsr8S7icKsk5dWSRmX0wnaWEaDwLFpJz75fTS/a7weUK36qKhCE0Rk7HPwTin9Mh9tCOpRpadnoQW/GuaHvf7aru038rSKuZq+eB48/TToufrq6lZFxoUjrMv87fudZ/jEv87fvoQqv1P7f99Zx/4dWs5NzC/wDFpf52/fWv8Wl/nb9zobiuP+f/AE10v/nGsbcyf/Fpf9I37nWz1OX/AEjfudCmRR7/APDWerfgX/XWBuYT/icv+kb9zrP8Sl/nb9zodSx9q116TfXQNuZOOpy/6Rv31v8AxOX/AEjfvqD0T9dbCH/81jbmFL1J/d3/AHB/trn/ABGX/St/5/XUSbNjqZNl9ToWbczX+JS/6Q66/wATk/0jf21MuyX3BOpY9jfhf7aXcg3IGHUpf52/tqVeoyV8zX/TR8XS74ofsf8AkNF/4RiOSv6ENf8A/m9K5odKQqG6lPuf7f8ATU8Jmb83/D/pouRlS+5bAugoJr9DrJurqg7nUeDQHJ8kcKLPANaR6hVRkztNlLV+p/Sv+uu1Wvmka/YAeT9PGg//AHRAcR3MSRQC1ZNFQcyBz/T76HHV2MsiRgPHVEhEUEEmlXnnLIfN4rnybm5t8HRHS/cNttOr+7eavG7P0HP20t/EaV/TicLGSQ7ISS1A0ADybH19h4vRkvWpMBjzcYAPBCkAksFwojIY+/t7aE3PxNIIo4y6lpFAD+qis1i+OKDVXND5hXPhHKy+xIUdW6bIioDChdaIYXkRdnJb5u+fP9tAnee8qqMSOwg/JzlRsEefYef00/XdbgyZCTGRSkOJlyUue7vNAKxQBuKsMCK4Jd7D4fIUJKIzEQ5apHMgcmzUhrsoV/XSbmHakUs9eLRx4JGtKcxTcEWbsLXP09qPOlHWt9k1dpPd8pU+T/qk/wB6Or31b4eSIB4ZsXxJQZVkByeSe+rFj76qm7k3BYmTI/UqiK3HsH9OxRH/AB0N1A22HfD3T/w4lkQglXsGPnFiyj/678SDjKh71oqbftXGQDoS1xuoIIVgLvEG5Tx5NN/KdJl69HGKeOZyBeRxkOYYPTWAw7lWjZrjwBrn+Niz7KGMKqowZDiZD+UnGqjThRY4s9wGlu8jJVgAnGUrGvLwpffQFtM3I7R/lj9xf0I+9fOaSiOFjTkt+eVSeBxeCNR/760z2wsEfiSsSM7FIqJfGIv1GofY+44gi2hTtlWVWMgNNkpIVHAsMBwfUP619tOZk3VpVaR7I7YXA5aspSIBwv8A/b5131GdRLFZ7Yg0h7iP8pTILrzyv6aWbeQh8KIzkiA7jfaS1Ae9uEFasG0+At+8kn4TIGTENJIighpELcAlvkBHIHn9sZindxD09vBdZGND3H3oHn5j58+db3u7B27MpJ9aRmWjZPqOSoF/YgAf0Grts/8A0vdWWSWdc1s3ZCiwRWOIJAvyHF17al3PwPAkSh9zMqqAp/hYyrEWBWRzmr64sOLvTInZTQrRh1c90ccafOG+WMMxPupzZuDXgag6Oe2O3J4kkILggZsIl49uImP+8dXuH4K6TtCCYTZB5llkYEe9jLH+2nW2i2rRlYEiAWl/CRBiV5xscgi/H31qNZ5t1HdyxJmgdfqy5ChX8w8A1rafFe6of/HPIv8AypOR9dWmLqe4V8GCOxDUzHt7Sq8sq9oJewCLpGJ8Xo+DrsxsGACjVidMTwDYyo1zXIHIOqZ7Mk6fYrQQV7frraD6G9No9ov0r+mpl23+rx9a107jzRONqT7H99SfwJ+n76Zkr9f212P00NwBbHsP/K1Muy/8rRwiv8xGpPTUef7/APc6G4NC70K12Nmx8D99MA4Hj+2tGcD/AL624NAqdNPvWpl2QHvrZ3A+v7DWhuSTwvH1P/TQsOCRNsPf/wA+mpPSXXHqhjV1XJUcfUDzzXB/bUsZA0ljGomU8BTwffRMUxU8Af11rbRlrth54oHx/wBdMdp0cH8xqz7f1vStlYxb4AN51JwjNkRSk8ceBf2+n11Xd98VIAxRizGscqAJ4sgfMfNfqPvzY/i7py/w2I/nQtzziDzx7nmxfuBqjHpLKmDyI8lIzY2AqsoJcXf5QBX0x45NRlPODu0tGNXIi3HUZJGBDHLAjj2UAkg15N354HnU0m4yA9OIytHTSIfAUBD2kn2Yn7gHz41xt9iwZC1sFyzVrLKoJS29zYxb2r9edA9b6qPT9NFDEf5jAWKPgAkVwoy/ViB7abS097t8Lkrq6iglGKy+Bu9vI8e277QqWN4pxkTTElT2lQB51Jt+ott1WqHpgBmkNhghAON3QyrgAVR+1J+lbv0FpoFFtTKXtWS6Vr/LICx55uvqNM32LAZmUIj0CrPdLYtMFFg4k3S/YnSyneFwNGGblyWBJi7gzuIs1KNx4s8eeDYy82RXkaA+It3DEsTRiKR45UlpiK5UhEq8rqieOOONB7qHBg24f1UclVMYGRZQxTOMXQAUm65HkeRrvq/RYVRV26uVWNuOW7gitWQ/lZxkPfyfB0kngLirqw7oHWQcJvSFygk93B9P1LaNWNfmxs1yovTodXikhkdnEhvBVCmwWtVIWuQzWQxFfpzrzxNvPFucZSqQnPC5F9MlUVXAdgvulkcAYjzwdPU6Tutqcty6SpKAkeMb130wX8MYggISC3F0L0sXboVpVZdd103bNkWxOBGTOeA2NA2eMq8j78+dRbTpykI6qrKQC3cCwLXlRHvyPFDg6856A8IkMMhLKwUj1PZiMglnzVceaP8ATV66Jto0nQKwB5NBvYX9+RZ8aarQltCL4j6QnLRgurMRiEKspBORNDkXzf0x/XVe3XTJArExlsPygH1PNAVVjm7B+l/S/VfiPZJLEuURmCMJAqsAS6kY8/Xmx7duhN/08SUscBUqxt+0Hniw93Xk/wBRxpZKsjrJ5DuZWdGADq5awe0eLHJvz8v99GtuDKg9WMFlrJ+TkzEAeAcB54HkD60NXLr3wdizEeo/vmqgUPuAbc/UgA6UD4aVwKkWzVUwNEGzYqwKBN1rOUkakKR1ASbpIpNtIgy9NXKtIlMTVA2RZoHjj9ORdfQ28s0SbZdxAWdTnC0ixUp9RkZcgqsfB7SeaOq1telHNXTck+m/ivcc8XxX3+/jTX4Y3A2USoxWZxLI7yF1B7gAFv6AVx/q6MWJK2WqbpMwkdk9Nkw7FYMXLBfDNkKBP2Ogx1TcRtT7L8ygGOQH5uLplFAHzzrW6+PUWPIgJxdZqeAa/Kftx4/XVa6r8ZTfwzzq0Yj8gE2zEyIlYKbQGye7kBW8jnVExKLfu+vRqAJc4siVyZLCnBnuwSAAqk8/TS/dpuVkpFSRSwonKPisibOV8fQeSB9aR/BPxIN5OqyQsPVuiguH8MFqYs1hyCfAqgBr1E6zb7BVd0UaPcTlmB28hxCm0dGQk5DEFipJGPPHuNO4vhrNQzyzIxAJVWUBftQHtpyYV44HB+mqr1j4tmg3EkbCJFBHpl+WdCikvw4oZ5rRH5b99NbaE25YjMwP5v2Ouowfqf3/AO+u02g+p1J6Z9gdXPKo3HCPcgakX0x5cGz9H4/YajG1vz/x1PHtvYDn99axkSwrB25P5v2YHjz7ke49tbk9JOfTXEmhkXs/fyNRQuAa9Mv/AL1f8tE76JJACY1Rqq1bnjxfHOptlVlYOoeowgikBI/1aH6nuPGgNwXkPexq+F9h+wA1NBGFUDk0PNCz9zXF66L631M8qmDLAB7f21jCh513/Fgsy5C1xse4y+X99Y0YJB54v9KPm/2/to2I0RKx/XUsTtfGpodoxIuh3G+DyOaH6+D/AEOiIZFjVhYaRb4vnwXAr2OP20rkkVhoykF7PasR3MaYciz4+p+2hd78WGIyn02kCggYcm0ieZrHAFhQAbqyB71qp/EPxDLnIUfAY4cA5BopmHHI7csrNj8gvuF8R9ZznWdQzYRkypQVSPx0XFiQrGnRTZ4pOdRc7PRhoqKHsfV1LSrMyhHACE85PWJGC8gZKDRqy3Gqxv8AbAOsmK04xLBu4lA0TBlN5JSrV2T47SNID1OJZVaN5W26SgiF4lcoFPcUnkk9UOcWa+AMjxWh9x1hpS04UpGTimTH1aByJIHaoLm/N8WBxpNrb5LRlFYLT8M7YEzSRljLOJFdWshsgXUeT3DwScapq86i6dINwJVJCYSxoKFM7G+wBe7tUk3XGZrxpZ6LwDEgUwHg8AMHBkkH53ZgW8BRwKqxqTpu33ErSKWyzEZDiyplVGcs4uwAGBBHHK8k86Ltu2Uwlxz+CN+mZVzShsVy7i3qfnI8AcAggm/W+miR0thHEyP6kfqiORcLbKQBVPiqBDZck2fA131/4Y3EEIznhYjwkUb5KwQ4qH4NdoX6DLwebTwTNGDHGzAsGaQnub2fxxXK2PJ81lofVFJxiq2yvzhjBOsSRoY3i5YoQceAoNI2dcEEk+3zkX5OmfR+vOIyodGzGbBRYyZWUlSo8UIi3dxbV5pVPT0YKTkVRWNCzi8ZAkb/AFfOKlQODlRuiO9rLE7qjYkAWvLKvFLQxOI7R4rjitK5pEmk78B8vTzv4kaay0Em4Y80DE0ocAYijz2L55H30/2iRwNBtm9IIUPOUvrGY40Q9GPEkntAr9KrSDp3UYlcAxRrCqkExRWrElZArY/5ZBAIY2DyTV6n6pIWYNI8SsncFBQhhHk1lzRRfAzF0L+h0YZW6/sTks0l9y2QfD01IwjVQoqWNmuQMaYEMrY0FNEff7DVe3fTt4cQFMbqMWPaQWCg5AZd0ZPA8HtP1BOT/GssPqHbSoxd8mz7rxiwBX/WIiXiwOH9/MvwR8fHc22+VQzv6alExVQFRwWtr7vU8/Sv11RxQm9qrOOn9N3+3libONkYrmMzlRVQz8ikxYZBRd0eedHx7o7zcSLUsEoRlSVouMVYgMrFaosVOJHP3AOrtuNtHRBFcUD/AGFfeyK1VOh9K/gIu9jIzNEAjOcY1oGUqCaCqWIsV4Ue3Kbc4KKSabfImmnaHcXOyzN6YQrCmKqWOLE/ijvOZqvlBHmtNukRxfg4rIkjumJkIza1f1CwBrwhb/f+ngWfouzO9km/jJYzEQf83sVitt3EH8pUVY8nydQ9c+KfRlRoQrKA5DjEh2urZlGYYAlOasH6WdIlV7mByvgYfE/pbeAGeQRZmlwUEMWNkBOCW9z+hOvK54c5bjlJFcXaknx4uh7f99WCTrn8SdrBk0ywmNRGzqDI6Kq5B2qiSDyTzlqvQdOka5YxG699wMSSUzeuCKxCEe55vjQw+APJYI+noI1tiWAo0gAseADZ/c6FPREYkEsC30Pn9vHJ86D3/VnYG6X/AGCCAAOPH09h9tQ9I6s0YExlBGJAUk52bNkVXHH99LkGCwxbGbaRyRQP6Ydy7c4vdKpAf8opKsUeTR0w+Bet7oNHJJuHeF1ZysickAcAOSAGY40Ca83WlMXxGJIWBW2YKquG8FjjyPJq7ONa5XfPCtxvWC9qnjwOAftwBzxprBSZ630br/8AEyNgn4a5DO1YFlYqQCprmuP0OmkuyRzbIrH6lQT/AH14x0z4xZFSJZ3GCgVdWAPm+/1/rpjuf/ULfIcYsZFr5nxu/fyQf7adaqF2lkRTrpiF8n+mhdl8RPLGrxKqK6gjsphfsfuPGsWE+WOuqzymicbxfZcv1/7aPfqbkARqsX1Nc/0FV+96XgAeK1HHugzOlm0xvg13CwR9R5H9DofUaLaNb53RbQeo+a3ZrtLDM8e+N0PrWpX3IAJ8Ackn2A8knWpGABJPABJ/QcnWlcMvFMGH1sEH/iNYxqfdYLk142Lr2sgWfsLsn6aW9d3xwVUPD3bh1AVQVWTk+4RmPj8uiN1ljHgbT1Aj13ELRQ1Rvtar9xX20N0rpJdcZSykGUEAgq4kAbMEDsIcmrAPHjkaVyLQh3DpOkmRTzTHEZAUaDA0f6X++nKdMUowdqUjGxZ5bt8VzydAdT352sMbUCPWhjZmulRnCsx+vHv7XftqrDrU8kMzQRBwjrgLLd08gmBBschlUCyB3i6qyjkdGnoXyHzT7hY5TGVcxbqoiXoFXhCcjkkLLIbBB8E/TUHTmlUuoYTToWd3LIcCoVAoQlSB6c5b/dFnmtRdOjlj2k8U/YryRIkfBYAiM5JjRYeLAPs3gjQHT94E3jCZgkKqCeQSzSbeNCcBeBpx5+vAvwp11SYftFkaRYSYyFk3GS2rXHKySqxIFEF45VoeAV+41Nuumw7dM2IgEkckHaQDi5APaSo7WGV88XojbfG8EUasE/GCJE9lRkkbNh3FgoJyJAJABaiR5K7fdH/i/UZD6hYGVVZpBaSDJSikFEJwuuO6x7HQajy1kyTbKn1CKSCVl/h2oeFLoRQGRc+ymvr48+DoAdXcl5fSjdTlIVMoDKgUMBRWyMSAKuyrV4Oj9wsksrq1qVFsK/OmBwVUB7balJBAo34vXG8gWR2yXOmxkBAuwo5LDi2YO3B+nFadSN0reCfpOxkzUzGJU4kdvUJHpu1NZw7GUd3PsQfY6ZpvdsriTbGRGVwsIc2tFsG7o7BHpgAZcg2OPGk525uEkWFvsAt+blbGNVrEl2pauybJFASbaaL8FZS4RRHGpyHaMlXL5eALYVzdqdK7aG09unJOQDud80m9BcBzmFoEFGsgAWSBiTQs1X9NN/SC+ukZV2OdJahiloF+WiT3MR7UAOa0qnhj20skkczPJtnZ0VomCu0UmPnwyhuDj99Ptr/6rPNtJVmgHqlGUYFgCxzU8UcSKFcm78jSw05JHV631UNWacPAJ/iMUm4U4EFlUZDIIWMjqvN2qqfAHFA83pLueqNj2k0z/h2gyGLANkxBL2jEAgg2DfNab7DYRNGHMuSh6sIwuvSLAdh7yXontN1wfebZ9MO6MKw4k5YRiRbCssPrHkLweLGRN3fHJ0O+TiK/N1YF5vxWxKgqrKaaTnziK7QBVg3fnjR3SN8Wj9SzmTjS2EFHuQgKeDHjYBPzACrJFzb4J2W0hD7vbszmJmOEsgJdcbQKZAuRJ9uONdSfBKTuDt849qSEApi6MpcyMQ1mmyAsHjEfpp6VUjRk07fAjWOFAuSMQRiWsFWXJCuSNQADSsxa+Bfmq0z6K6lZY5EU2E/GxXIMFMjkgg+a9MccYgcedLd506dGo16eMiqO0jtYQIWNUmagNdcWASC2m3UumJHtTLHTeiuGamRVLg3eD2ZKNuWBtjzQA0sU+Cs3GsZHvwt1YOJBJK1wenSuxA4SOQ815BKobHmMn3J0l631R0SMNIw3A255BZ6xaR3a8QMHCgZGuCboA6D2MsX4PcI1jnWR3JUjEUkUbOxBWMBODYs2fc6L6z0KVix4CCFRnlG2WaIHk/8A5CAhYfdv66z4onyyq7naGS4lQBpvT5DCyy2oUm/Jri+fb31AkjplEtPk/hCwINefHsLF8Hz9tWmHaFuobSJz6bTGRo1QFXjj9OULYPK2ic/cEe2g22rKQ6PEyhmZh5dI8QaFLQLWzMTbfKCOdIos21CjZdPUZSq3KNZWqxAkeiT+a8bGPi+dHRbVGWMqXJl8L8pXH8M5kfdCPHkH66j6RvjHCzo8YWRochJ8+JYOVC0aQmyTx+hvTPf9WikneTcOkMjoCgZ6C2BVUBlS+3Fk6bamgJ1yJtz0VQ+WLBak5BDHJVJAoXQ+Uk14NDm6StgxBCYHFQ1tkPUru4Hy2bNNzyPGnu3M00jpEnrDkMQoZSCMvJ4YnzV2a8EaGUyRMXl283IKC4S0Q59saxNjmvp+wg8ZRpU+CpQ9SIla3IX2H3J+/ihr0Dp8oGwkidFZpSjBjIRQA4BFUTTH3I7h9NVH/wBoktykZB9/UcH9KP8A1026rIR3t2UVFA5DiiTZN3QBrxwBrTkuYiJMhfYytkyJGyJ5F2QKFCuP/PbXWy2HU5wz7fZsY8iAQkZFjg0ZBZH6Ei7970J0lX9WUqWIe6LEg0fHvxxr2D4f6nHBtoo1kelUfQ19R41ya+u9FWo2V0nK/a6NQQBRSih9tc73demmdFgGXKvIUkKW/wB28j9gda6XI/op6wqXEZ1RGQ8kH6e/jRLNftr1rPF7mWNRk91+5Fft/wDupEgvzoiPaj2s/wDD9tKFIWbsuXjTEtHKWSQgWEtGZSa/KcSv6sv1002HRvTRVzJCqFFkk0BQsnm69yb0SNuv0Gku628pn3aAyAPt0eJsSYwxLK6eMbOK8E8Bj4uyC8YqsnUfQD6LWfxfUjLMPMgidVV7AAzaJQW482PAFWKRo0jaQmlUFjwfAFnirJr2A1WJN8Y22UskqLhC38SGfHj0siQnuSyXj7BSR41V+ufHDPI0sJlSCTbKzWFrFlHgWGDh3C2GI5aufCnVGLYy+Netod2kaXxE6A5j0z6iKUYAeTmyfMPC2OL0n+DviFFkWJw0pzPqYl1yxvFaJCZAgAZEGkJu24T9Xm9ZtqfT9IvtWQAsFcTJlHFkZAClMqFSWr2Hitbn6NI8O5waNDDIHY5sZCuHpSsGUlsFZSW8iyTdVal6pUGbrrrb2KYsoilR45qYFhUivEqKx/IAUJJyBZbx5ICHedRkWZg7ktjeQILepTFOCKK5gMaAsi7vnUhT0jMzELUDiP1Q47ezFY6Fepmh+QkVldUdddZRo5FvuCfNkSRLEFr1fxK8hfHHlqsFSRT3WuBk0o/Mzbz1HIwjtlVc1VWR1LteAAr8MuxITg8VZ1YOn/EboSVeRSpCo4BNxmTJqWrdQ1D/AHQKpq1UJdw4zU4liM3BQePw3plbsKqysQKK8tiFB5Z9PkJDSPkWwc3HRN4t6eZemkfIljbse7trwC8BXuwWDrPSz/Hum22ob1GJZ1rLFir5AepWGZyPtf01L8L/AA+snqmWRgYPRzCkBs8EtjSmzbNyTZKkke+q6vW5YgQrGP0oiqqDUoDDJFIFAMvoqSVskHg2ObbD1fdepP8Aw6tNCLLUCxkIABKNd3jkL92APubMavIs/asB3XtjAJlhykWX0gy4oXdTK6xZX8qq2A8/Q+5APkvU5n9QKiyFVN0DTWhAJy57sqN+3HA516b8X9PlZ4p1FsFGaLVn0Czx2GUH5mDFfluMc3zqqfF3w9LuI7hVXG3GUvdyWkPzKoNdqim4BpAea4MX2FnwmKJeiuV9T8QXC7HvuR2CNK134BKmx54PGhtk3B9RJBkKIWrC2AGGRrI4P5+/sdQs+7iQxpNlEwaMsh/DoqS4tlDBcWJJqq9+Nc9I+JHhVYmClAaBxBZRbMKNiwGkc8/zn24074JxlUrGPTN086MqcHKBVDX6ad5BZ2IpVOCWzWTVEnwbF8N/EkcE0Qdcyh9QyKWpWZBC0oWPiUsGK4jwEFZG9Vb4f6gzMIZZWSIuC6gnE4AlSQBbKDdj73550w6P1l52ZSMUaNsmIY0a7Bjl3U35j8wNHk8o1WSikpYZ7Xvkg3xUeorNt5gOLwMnBMZPIY9oteSOLA0D0zrboJLhDom5SIPTMXZ2HeAOKOZxcCj22RyR5p03dBZ7iZizOxshAnrrI8tCzQDAIC8bCgvuLOitv8Qgu5bAhJ/VUSAAGcJ8pPCRuokrkVYNCxwg+3sy8ybs/wAdCcysSybhGOR5czLuMaAo8Ko8jHE/prnqI28kqQo7VMrSsJCTSxth2gg9xYEUK4LEcAjVTj3AZMXixkO3LmRhciupjODWAz4DgVxcrXRFnmHf97bpQ0W4jkqKgCJAMm9Jq4h7COOB+JRBsHTKnyJtayh3/wCnkG2bayvuWS5JJSVJqMRx/hkUTTiwxyq6Kg+Bq/8ATo4/4YCB8kC9pBLUCMgODY4I4sHnXms3WjJstjCXSJZUHqNlGHMzcucSKHcxoe5YkihqxfC8kxhlWKmhfPBmKmgYkSIqq45IMKIyWyW54Fo6WQ7Wyv8Aw503cPM27khIsSCIvMQ+BXLMee3uKnwafi71Inw4rg1IYpppWjWMsuILLnI6j8i/mx4N+RZ1YW+G551haaOFJAHWQWGRFLGii4m3KKoyJtQ8lHnS3qHRpEG32rwxS7eFo7L2fWW7d3HPNjIgAksa8aW48Io3KTtiLc/BaySkLNDHIqk/w54d8LS1Jk7eFs9oAsDjSjqm1WSWRD8ykdp+pNcMPp4u64OrbL13c7qKPe9Pizji3EpxoKX/AA2jFlmAESg0eLtAa1fJkh3O19aVBXpljwMlxBsBhdEG/BrTtWQPGJNq0FvG4j9PuFOMhgMSavuNg+x4OrB0vf7ncuI19KVQKYOny2Ls0PPvq19K+HpYURpVWRCciMjSZ9xLLib5PLDwNFQ/DEaGOYIcgxPabA5Iv61Q8eNLWDWU5Pg3cAlWRHW/mBpq/Q/8NI5unIGCgkOxVxmeCoAKsB7CqHj7eeNeo9S2ySxyCJ2DtS9rV5IBPJo0CTQ+/vrzv462bOzvH2x2YgxvjABvp4yFUDyV+ulkqyg3YQ3w6VQOSoJFgCgCPY3oKuBbYmjwWA8Ej6/bQnRdg27VL9VSkeC3mvcS1sGUUQt/Kf5vfU8G43aAqXmSiaUJlQ9ucPNckfUnWjHuxWy7xrfvotEGounSRyIrobUj+o+xBFqw9wRY0eq66jzVExFH01J48D9tYkZPgaG6l1yLbNGJQfxA2JAGNgEhTzdsQFAANlgPOg2WhCwnpm4WeMSRsCrfuCPII9iPcaS/FnxG+xlyOPpeiS1qeHshDfgFmsAEc4HXnI61uWimEUvpIkonC5qApkJVKYfmWSMkjJQbJxrgMOufHj7mLcwsuJkYekUCkqpssr3w3KHkEkgiglHSnStOngtE/WP4np0e4OIV45Y5RJ2lpPSeMqAKY5M1nBhwOPrqizdMUtIFiEeGA5kyRVLUTZI9SlQ8fa/5dG9N6IN9t9r6EhCQrHFuVBTlpHhSQhhIXBJjDC1AJFjydKd06ruwuBxIdVBIEhAciNyrAYhuSMi3aSe0aDLQRN6yLDYhI9QzANgDX4kRjay1FrhIvK1s91+ROnTOF3Kq8io0SgyKeQGdXUSW2TENaUvnNya51Pu0YbHb4yBkZ3skxri4YkgizZBfiifJ4B4A/Stm8hkVZACkLOyNGzKcGph6a+eVUlqsWPvrZHwa3ziRIrxB7VHy+ljGQoUHEEAZMSfb1D55Jmh6wyblBgSPrO7KqH0wgQuoPaCCABfmuSSddb/ZlEeLBFKOrj0x/wDWUX1BRkoMAhBFZEp48krpRuSZJJldY7OQU1wiswvPIg4qAAR+UD20Ld2Ua0nBJWpd+KGcMBuOb0w0MilSWVm+VSuWR7+aRgQRfF8HRHSd2rko4haQoo9TJUIPqWxvlWtBeSjgWeRyLFtN/tNntA0SYyTQxsAJlZw8q0rhOUDUoIGJXtFAmxrXWPjliZikZWMxhS2N26uyOoeNWxVlFgMwu1o8nWrIq1JOKTK4+3e3AjIU5r+ICqlkGPyADGigWyD4I8HXEXUkjhkWeCyNr2DAtiGkxtQw7ARl8vA4Nn2Ih2bJJt4payWX/MDLIBFIFoBWUqQFZsiR7P4+YiT7g+pMIZGZs5IhaKHkxYAH1CpByLIbsGgSTXI1UC2y7xdflXa9NRVBEtK2WOLKyFUUkng2yrR5sE1xRqm46cYS6cySyAxkyEMsbqWjdlQjFgzE2GuwSOL0p6VuiYDODNEqPCqkG+/H8QBjygMbDEe4I57dEx/FEczi/VzVTleI7r7iWY8sSf11rafA+np6coyt57X9RH1xGiB26kGOw+Vd5JjVD3Xyhx8H/mdL5OhN6ayIcuxnIPBAUgUP5idWLqO6gaQfhu7VQCyKW4HjEG7r20u6h1BcYgiSQ40y+orU4ZxRBAsVywI84kea0252sA6WlGErkm6xV+V8kuLAtpHJECSKc5RkG/VAIXjHyAbC/XytVemLdAwPe5VaKnBTJnJTMyKIzynbRs/cjyAX0dY0/ElUM0cX8QCpag9s8YYmmoKihV7gTKCb1F0vp4EDZFzKpe4ngLRECPOjIBauwDdysCo/2jqsIbld0c+EGxQrMaLvG0W3iLESIrM8liRaoYIGIWj47vOeuoNs38SYM09ISJeKogWjkKo1ZwNsxqr5Hvrp27XcFHKj1I7YMWelDEooruMpsHlQrEvyTiDqPcbKNymRRoI4EEg4zVmV5FDMnEpLqWsZCl8CzqL9rpleVyMZdxGjHECVg57ZEqFcFDsOSAjdqmyT4JBGdaD2O8YRRembCxZhhEvJ5dlAFFwrOIihIBxY15szb9Qgk3ZfKPCI+XQoZC4K0UN2gVSCCK5UWND9I6QZ0Kx3NI7I0K2vyCXkEo1KQgZitH5iaOlk03gdXQz6ZvWEjMXVUVAqHEFnjlaNsB8wUM4KWWIpwFC0tMPhn4wO23EUcuCxSs4BXhc2Kngex9RmLCq7gQfYC73fGANGkapHSeoHGYtXZ40IZqEkbVz3Z2ee3gT4T3PpujzK7LKBEHW0LNMqMFLMe6OwCGFLbiguR0jTayG0uD29Tf8AYgiufeiD7f359tB9agDRE/mUWv8AtAeP0OlvRPiSKRJDkqrG+J7gQpoHEtVZDIce11qbdbwSA04FqwFYkgkcEWcSb55se2p221HgXbWRbsN3hE0ccaLlkz+QCSS7kAA93k+9k6S/CG+jR5toJA8BkZX/ABgXLnAuFFBsBVcAeTdtZ1ZUgUng0R4Ni7B4PbwOKPtzfA086ZMDwwXP60Lb78Dzqrl7tpNxxaCqBOPfX2JH9wb0snWHblmkZQCPB5ckHkgDmrr7abhDndflofuSf34/bUG92UUwHqKHC8j6j9ua48e9aoiB53u4USb+I2O6RQKMkchJbAfNQbuurq/H1rjSqPqLSQ7aJlWMHcqWOTAvTF2yIII+bz9SPNVq3dS9TcsySQhFmlSONDRkMYKtMxYNS2ikYjwRySTQq3UPh/19zOEIRIbxGTcsfmGd3+554GjJJDcD2FUBZlZ+LBjDHG+OQPJ/XzqbbzKgqpASbORBN0BfcCa4+uqj09WglH8RFGVJ4RlJk+xF8f1P769A2nW45EDKhrx3LRH2o+36caigsrnwbs5NrB6e5xzytcPBUi6P+sCSL9wE+lCyv1CJGRXaNDJeORonEW1Enkgc1rieIBHJOChGJayMRjy3H0HPGvIOtDdTGGCamm9NaEgPcU9R7YjtAeInigzBUu2GWrWQjHdlnpnwj1d2aTbbl19eOR1UWgkZAA3KrwWCspLAKCGHHk6i+Ofh4b7bB4GDSxMyoyEGiWCv491dBx5FEfpR4opW3G1DuwmQKFkIdZGjCEohSvqmHqVmQwJvGw56Z1CeCPqZBeM5LJDI6ktIxObFldflAGLGr/ENHhdLyX2UxV8H9CbdQOE7GBMcgMalSRTK6vVKeczYU2f3g690k7GSNfSrOgpD5CTCu/EilOUl3xWRBFeWew6h/wDMEm1SWCHdgdkbQ90lDuGRaNCS4v3o+xGrf8Z7JDshJPHCDEysBNJcYs4kMa7zR4XmyBoNsssStnnPRJ22zJJIrdkzJIWLUVEazKuApSp4+Y33EixxpR1rrLjf/wARtPSsMPTK92NY2imgrLk5UVVhq8jje9ZhFCaCh1fAIgvjH1Bxxw6VweKAF0dQwSAieSO2WMxu4NgW6uj1VEKSQf8Ac5JuzXSklLLF1I2rRZf/AH9DMjmXaNK6jwcSqSc0SxFiiL8A8aQbbbGOgsoWV4+1ispkkWYiPFirCjZ8gHnKzxRabtpd105ZmjJxxUSKVdTjaySvGyAqw9Pgo3/2fbVegQYP6gyURlaq6YKQOQT3gOwUnhCycEeNPzd/ahk49o15yG9Mkl3249MLk5QKcvTUIEVwfPlu5TyC5IaiPIY/D00kdpJ2w7gyRzJKwC3iaYsB2kspQPXcGA5oaS7TeTYtEQY45Emb0+LsrmXf8xNIFDMPrQBGmMe2PpxMxyDZDLtyzZ3aig5x7gB+w540q1OllK7waEY60+m3WLRv4hatwY4wewCNFjjcsqwMwVASC1jIAvVMReXnQTThMY42uNlaYhAAkcmDSAhSuXEUSNiWpiL50b0/qypT2qtKcBI4yIAIckH5s8VoEc2eOaGgmWVxB6MiqXTEqeIwYyUNccqAxYkmwD9uZrU6mao6NX0/Rltu+CXpPWZpAWUGhIGEhZiVkxVFHqVR5NhOOGa7A0d02MSTxxjsjENn8qo07j12Wl+XE2Aa+QAeToKXaEqVVZvSaRmmLtGLKA2+EfFE8fmHA96Ot7Do77gSCeT0pVaKJlkZKlICVbGQPl4PGVVQ9gHOd+CTYbgAwhS3pybhm+aQ20bB4xjHLiHRQBnQ+axeJpluOrvvPTjhUeskoRHdIhA4ckAP+Fziii+R70DYGlGxiYNGHchY2ZfwzgSHvLvC/Me6uD4486m2O0yaSOGMlwySxrZ4UBLYUQGYAtQN3R+oBXcrBXYN33Xpdn1Hcpt5FitlNRpG6onzCiynBAW8AAgVxwNJOt9Xn3UUrbm5ZY8ULYItXkS+IUE0FGNVxISfbVp2QU7ZZJXXlHd+xBJ+EBEM2r5RjZ9yQBdAgon2iTAO1hxMY5Fyq4wFkaiF7QxLCyGINe1AM5WwUksgvUemyRbYxtzLKNrDTkKY8F9Vh/LiAIxZJqybHI0rXdusKGGNkANsA34bkRC3NENZBLWKxyI1aN1vEidJYzGDA00wEsh4Mjmo0BFMDQJ9z9rJMXoXDHuJAAWdSFE/nJbUhEy7ivBDRilAFAAHRWpSrkZaSk8OgNyPXphLTkYshfwGQBqFgByvcaJBfkDxqTZNkc41xKRusORRYS4CsxK13O6S9vPdlyQAaI3WzcyMqp6iSqfUIIWJm9SSaNcwSA1xs5rzQXjUXUFhl2+3jhiWP1WlEchY5mSywJJAbFnYIvH1JHA0n0Gkq5AN7B+AoTFTIkSMfUpywzUtwQMTfOYPBADDnTCXdbhDEBGyXAYoVW8ikg9QOsii7dVL2eFsk1ydQdX63EHbJpFxUIuC42uJBTFlFgNZz8kSt9gOoIWO0k3FlfxlXbvkFQ2zK7EHiNAPF0MjQ8UTVIXdk3t+oBIWamUtt0Xljkxp4jNyCoLFyo59ru+NCSy5Sxicfw4lQJKQrHONVC5FeGQAooryLJsg8u5tiU2areZdIzEqD55ecXZwcmGZL+StmgdLv8UkdJ4z2MZIliydmQuJD6jmRgclGPuaA4o+SYuOb5DJSxXBGxdFn9aRwkR9IxjFsmyDRgUbZVWJO4qvIIu7Gpd/t44IY5Wj9SOTxIAo57rXAtlxg1miPvzrhoPUaQr5WLl4kEls5CAoQQzW5JL1kC58itQy9HMbQwg+pkiyO8RMhHBYKAEtfF1RJsXYFaCnQHDwBbXfpGcpVyUk0F80eQPmHjgWPOnXwt8RGLfJOqtguRCP9CMCPqCVLc88/bQP+FiRWlET4RyBBWbFLBP3YgUASf5hyNDDaqsyotBucqa8SF4BvwwyYEexBGi2qErsfTfS+px7mJZYmtT+4Pup+hGtwbZyX9QKcnJqie0cKLNflHivJOvAOm7t0fFZCtWD3NjbDHKgw5A5B/1R9NWzp3V23G7jdJHwSWFMbfxHgGsH5rALE1zzpHKuxuna5PTetQRLE0rop9FCUscKcaFfT2Gqr/hDxbGN82QumbkBSyO/cO1gQVNhGxrwD9dC9Z6285lh9LON5UW4wWkQEnJHA5BwFiv5T9Rdln6ltZUKt6qjxRTcJ54o9oNf20yyJOLhhlO3W68pKoDWCGUDG65u2Wr48H3++tRb7dRdqKuPse7kfXtPP66F+INzHFKsSMZUdQFc9pX7MaAJHjI/8tKTunHasppePav6GjY0lO6oB62rfcD299Vv4w6RCu3l3IVRJFHkhZmC5qxZBQ5ouxFDzlXvqly/EsW96Z6M83pbiJ0aJ/z5R9wZO4U2Ni7FEjVm+GviGDf7dtqWlDlCozI9RggAZ1mW1fyPPdyby86q1QsY9ysdQ6usmyj3DyF5nkaKY3RijUhqUoiubV14BJqV696sfxHvS/Snkf09wTGhT+HZlYIzYCUA3mVZgcSKJBBPnVN658NS7OHbKMXfbOZixjYM4Vg2fki1sRkeWAjv5BpEerzxqgil5x4jXFs3ZgPS9JfJBkN3fdmfmAGlLUmsYCtruXh2wdTLFJHuWbMoCpBUFWxdLEhMagNdc0QfOt734rn3SIHkeQlmjVOxh+IAotQoDseApNVya50u2CMVnjd7jaONnf1e0MrkgOWZQ95UQtmyAKJNcSdQIjk8oQzeVAUOSoBx8tIoGRZicS9+eW3yH4yND1hfTjSRRGVUoFAdmWaR5iWsyHO1KFgSaZiKXSnZloVnjdqXCwCynmw5agTZxSiRda52chZHU9tIG8HJgXTEkgc4kLRAF2ODqCWMRt+I62B8rEEsbalJDWoIC9x/n+lnW5wZvaO9vstxtw7ruhijBVgWSRlZ5EyCYJxkAWYkCrQ8g6wo7ONuu1EjHcSn1ZAyI8zWKrOqqqtsr8UTRAbpJ9XEhvQLkhowzAxqrFscmGQal5L2tHxfMkm43MqxL6zn1y0qxBSB6iWbDUAFGPzZEjEE8c6eDi1kzUrwPdj8HbhZA8sbYwIy9jI2ScoLUG/lJY/ZEAo+COpbRBIMExjIYYh8TCgkYWqlgRK5VlBsUFckkXpDD8V70EbV3c5Ni0ciq11+VieWQ+9tiQbNjQe4Mn4biIDGNV8XgFpmHaAaxYWPNNR50jafH5K1tfKb+RPLB686TFmb8UOAFohVVZJZZFWwi8pZVgRZON8Drd74Q+lFgWEEryAKoJSK8vJskG7YeL4J41NN0aXaSiJzHOkzgFQfxWQnGN8Caj7gD818LdUNCpHgscqxZwh5jlRyCjyshUWB4IDL7L48aFrsIrvOL8h2x2KSQTMv4ipKFU5CsVKyKqu1sGtnFsoVru78a2W5SKYhkctRkjGZUhzTQoyk2QlkEAg8tZPFD7Hp7vFxGkULqGEhoqzB2Z29RawVIlZcG8ZDwXGoOp7ZiJWZRapHJzioxkJKlRnTiqrHPx71esZulQVudqZNqkyEByzh1BW7XHtrhsx3GqquebLMJC8iGMo2MhXgliCB5yBAsEEMOL8gjRGz6o0W1FMGzlXI/KeY42rEMMyptcyGPBqhrIJ5hdyRoCWbmQfhRqSGYBbLp2hQTzkKI5s7bbyQynf4CY0eaKaSFpMckXvpiCR6khwX5QPUuhfggk+REJZYUijxJdS18HhixHN/7N83/TU3TJsCyZMLtgzks2ZVVLMoouQqmhxybF0LkChWZQrOWbtZO3mw2KyZZOVoeAFNe/nSWUqL7le3cLNI6+mWSwrM+V5oVEndfa2d/fu8V5d9W+ImklhEyMACS6JxiFHZgQvaqgquQ/Knn31Bvowq/hoGFBhGcmc5cBji/P8AtUSfrS0IP49TFSRnInJMGXIUlYkA2UkZ7K/rwKvVFkEXtuh3LupPxaiYYhDBeIwT0mRcUUlR2uSfqMC3NAqthvGbbGF8o2EqqXYglWkdmaw7KYipTJiLsE3Xza1tRMUjY3x7R3m7u/pvkvBaUNFdN5yBJ45yLpon3EvrPUKSepJlIBwQUBAUm3yUIWBPze2lwWW5q0dbgJBuzCIWklkDQ1atfqMBG8Ttfzg1X0f5jfDTqnR3hhhhnLxOEaT08R6eFsSoKg5PkVBp/BXtHDaVLvktZIY48omKxBo48WLSO6B4+RGUJZVYkEkjk1Wo99FLDnBm7kJyULvGWlcR1nXiolAb3oAVp6TJNtS7BA6oxDSSiV5YyrTFi+ca5dig1+GSOARiO43yNHdRd/Q3BQZmWnD+mFAZGQlRgSyquYKgHzbEnMDSr+GEMe6UoBI0vpFslXCIx3woLKYwVIPPPbZB8HEesXgeSPawWhxdlJZlxCYkgyFnCgF2NAAWSBjpaVjqToI226RVeVAxm3Kyqn4vfgiovAo1KJQVBagVJ88g66LDMduZAEkLsEcFvliUYJEMTiHBLDv9ifPsH1/p8yiIDamMq0ah2ezkVyUEAlUvhrSxRQGtEbbpMke5l24LkGYHllpiQDZINg5V9Rx+p0G8GwshvQ+jzIZmdWVkkJjGB9OyrKe2OzQlKsKIBw9stcdM7dxLNvIFmMmd+IwJKVlIYkUmClKsnleDzY0u5dtwUujwoOR4I9mNVRo+9EVwfGtP1VzKec1UgICQeSSKx5BvJua8AXqe51wS5yWLbdM20uxsi5ZVOLqlViBHI5KjFQGPCWcsTWV8GfAsmz2m1IaCU7ko8pDRysoUlggEigqiEALkaP1rVe6d0x5dvLEajEKN6ZIyLS5CUluCVBBKkKfN2CfLfY9WWOJF3cjrlC0XYbUGalNohIIA58Gslrw2mTxRXbi+5L8Kdei29fh+u0XqEPGRkECBRmWrEhB3fN49rrXqHw/1htzF6hheKzwH4JFC/PNhuKIFVrwfcbNTPJu0iKwLuDgoZUiaJXkhAjwBYmgbAI+U88jXo/wx8RxQbYgTbg+ngrRywtcRLBMQS2PDHxkWo82dUS7EZ+73Fz6xskkWmiEn6mjV+QfY++vOupdKi9V+2OTuIB9QqQB24kChfF/73nXprspJU/MBZH2Ni/64n9tVXrOy2iy1Lt0LUO4tCMvvTSK3m+SPIOiSR4MFIsqHCigSfIv7gUPBoeRXvWj9t8SttZ1mgxQqGIS+ACAPT7vmDHnj3JPGod9vFlQTGHEs7kCOZFjBUDJjFgWUG7ALi744GlrgSLYP6H/iDXNEfT66PJTc48HoXxP8aQbzp8C8zP6mLZCSL8YAY1TUeGYiy3yi6JB0kbr5VoY3CF9uJQk0ULM0fcFWQ18xuOgQFPPd918kjKtUpR5FkVY7HabRXWOjgO9qUjI2SQaB0qXdvllmbyVkYuMUbIvZJ4u7NHm+a50uClYJd1EzlWCMCUUKSxESswJlJJsUBldMAMWJ8Ea0kKOm2FpiqyWFR2IKuSZXAFtnWI8UAAaAvRjbkOmMsglp7R5GtVC2XkZRbMXNWCCTiSCb1x0d1dhjElorFlAILkuZAkar3M1DAZE/MOKAo8mqgjZbXFHWZvRLYBMyoYD1M1DQ8MgbBBmRiASb7joHdRRRuwKKrOe8yBmCqwHKqnPcCSLo8g8cEHKjs0800fC0DFI3LSp6eTfQjgsw8AuF8eB5ZMpWAVGtpFRqpWSTIZKuOUhUENlfAVQANI0FpMY7uZJPUj24/DZhkjKVhXHErIbjDBiqUQS3nk0L1N1jf7fcPFBstv2Ia/GYgEBLJJLkYFQ1NxzXHjSibbJHeLBgSy5Mvc6+CVyFRoGAa2I7X82DrPiDY/wsyII5FZUOT5G2PNDgUhRGUEDn6862nFRVIE8dwrr25iVI5BGwf8KSVCmA5DRlQW5xKrSsooA+55C3cTKk8aMzosRxZkbvViS0rA15VmK8DkRjXXQukrLuNuMi3Kvl5XGNe5SCMvnVUHtXjWtltLkVcmeR2ckEcGkLEE5d7B1XHjzfngavpTUHdCyTk7C+oSYRZlEdKEaqwbJQbbNCGFHFK98cqGmvTJWi3LelNHHGUkEiRqWWNQiyylchXpEqO6zytV4qmbhmztuPSoU9mypJrkVXFY/oPHh9s2PqBiEaOOJ56j9PhXjzKm/mZTS4t+WPxR52pKLVRVDwbk7ZDt9z6m8R5hn6gNkLw0sgIEjAnvNOG9i1AcHRu9LCKFSyvhGHDkXUbdvgjjlWpRfnkjwBR1JnjaCS3W1YkjFjS/iU0g7GCA+aFr4PFm7LdwyHdOUKQpCWEauTiz5IkIYqcVJIBIq8BYIvUJWGDTdeQKPqZC2yBkZ5FIwjAWV0Xuyq/JF2OQK9zrIpGMdwsjy5qwqKse4Dz6dLbkgWRwb4JIEHSzI0QCqSgaRmvCs/TpgMgb/Dw4otdlRYvR0MLQzOqUU7mB4A5ziT5+00Hb5uOTfm9M8CJJp2FdH6iTvvTkYMxcDPkWWpTdMGHJBWjd1q09X3wVU4BF3Ry+QGkVvm44eyQL48aofQZfU6mjysopnlLeEGAaayAe1Rjdc1QFaum/iLz/iYsywIpYYm2ZmcscRichi3HBux7HXR6fRepJRic+rqrTi2+CHb7yBlknSGEOGjRioWnckl0y9MYlrHnEGuMTwYBJs1cjBQ3qOnpxyqssZFjgqykg0RVE80wHuUnS4sWBQdwAYC6YLVX9QK4+mhZvhbbMb9Ojd8O45+vDedeg/hur5X/fY4f/R0vD/H+zsdB2n8MqlGJeRO5JSQGrEBo/WLIB8tk0KscDkkbJHftMgdO1UJUxAHuyTKMqW7iRWVlvm+o7fDsQVVIYorZhC7Ylv5jRsnk83fJ+uoofheONSA8hDckMVIujz8v3v+n0sFH8O1fC/kePxHSXDZPtemR+hHGZGAdmtW8vJyQGbBfUClTiDXF8EAa5g+H5Iish3jGRZXMZdUOLgqkiP+JbKQQKSvP1JGotp8O4Mv/wAiZwpBxdrU+ODVErQqiaon66edXVZlK2y3K0hKt3d3lDkpBW1Uih7DSP4drJfp/I8fiGk3+r8CSDpmSzhhC80rOLJwj9PnsURsQFsEglhwa4I1INqZduqYhJY3ctiJcZFkUrI5DoMpTi3y3QYmqJ1Ns9jIiLGZRQVvlQYlryDY/lOXJo0fp4qJtruGhNlGdQFU+wClSinFQQoK/Uk39qM36LVX+DKr1ulzvX8E3xLsJWaOWNIpFJje7wLPaqRID5sqI/via5PPLdHlk3SyM5hGLMpAQk0R2rywaw3d54sVzzztJZ1LGSCJyVGJWRkUPVElBwynk+1cfroqVyVSsmtLdCTiHLC+bN0CaNeODdnU36PU/a/4GXrIfuQm2HTrXCSCUD55CA5PzdguzmxHNZcf00Ft9mUBwj3CU7LbxRX3tipNhZKojmyASKJrTv8AiiYijRNyaCmMMoWzxQGPIo/a/tem/wDErOtq+KqjWXullyJVytKVxIGQ9wV96OoPQkrw19UP1VLhoq0U3orGyIjKvm7IfiyzBTyxUXkbr28ak6/Cu9RBA0duEDxrKva1hmKxyOGKLkR7WQfHnQXVYp9ssa+m6SS2zIw5YBn9MWLsnvIBI96sc6nh6pHAU9WF0kx7sVjCk3xTC7NWTfNjyfGoK4rgdMcz9LgjgjSKbBdvI2UcrKpllq8mZW5bEcUTxx4ABWdD3EwA9NnUyTc8qWkjbM0vaxDjFiQeBjfFkaD6tP6qkKjCNznZJwLd3dRNFqUi/PafpovqvWoY+nbX0dsU3CAEv6dRDEY+oFf5ybDWAQG+b7tHPI++uOx6l/6d/Eke6gcgsJRQKyGzgsaohDUAysFL2Pdzq1yS2e0Iw+t+/wBPl18+fCO33Jgk3EcYdlBKRnIiUO/eQoN4Eqcl8NRrkAj2zpe93fpKZYtuXIu45ziQfFBo7HFe5/XTquCMk+fJ4J8MdVj/AIXfwS0C+BiHIJezERV8ghuQTxZPtpeqGONVMbiNcrfHt9RiATmBTfKFq+DxrNZoXkqv02S7a/XDOwAWN1piwAbFlHyc2S1G/IyvXG224JMqGjt2iYljTv5dyrY/MDyDVBTZPFnNZpmHTVqn8wbpcPqTg0UiRnlNUzBF5x7j7CgSxrzZ0yXbxYeunDqLTEItguO9kFYVTIAoJJVjdVres0rYYpIYdWtdvEko9OVoJZIk7SXhljYLeAJSS40emoFW/mGq3toiyukjC1jXDzQSQmRms1iCvbdG/UUe+s1mmqhYtyZNJL62cjSFnLIRyQwsMMAxFhFA5a/GIA1x1Dd+o/agVAvyqpKgjmRgPC2RZxoUAPbWazQCMOk7DJdyWN+qoRfymR2UbmgaNfIL8JRBPtqP4a3cyLM4iWWBBciOFIxelYgHy2K1+g+us1mj3BeLOpdyajaKFfSgObo5IjYq5EbuxI9Ru70qHP4ZBu9DdY3RO4meIs8bKY/UHi2F9zAYk+f1A1rWa1CqVjPrceDJGsoaMsIczF6bmM4jI4t3x9zCiQ3t4OuOudbwdTFDDtWdSjekArhclNlQPwWIquSaJsnWtZovmhmtqtBvSPhn+HA3O5aAxY2AwZ5MziFBVSMTbEFrYDA8XzoXfTn1lMcZWM0I1JByQOyHF3sOeQbPF37DnNZpHyUS9oX8PdPEE0sk6ZhID6i2i8TMgILf5asEZrHjiq8jVgVV9afEswV1TJjy3pxol/Y0OR9b1ms16Xw/+6vueV65/wBJ/Y6La2XPvrNZr6JHgvgxZiDfuPGuktiB9dZrNOkTbJZF54FDWpP7VrNZpuwq5IJJhXg3ruGTgk3X0vz/ANtZrNTZZPPBz65PHv8AU6kgBIJ+n/n76zWa10ZK2cSxZWCSD7MDzWu9i5jcV8osMAeCpFe/F/rrNZoamnHUg1LwGGpLTmtvkB+L9hGIxMMh/lBpInIX5SsbleV8MyeDWV//AGEijptjKkkjySEIGJIid0D84qz3UeYHnn9ONZrNfHyj7j6mGcEG2mkDRy8MIqVQfGIYtiQtZAljdnmzd6fwfGQEhk9H12nVoiJyGxLNXYVALL3UQQLHH31ms0haqWPBY+mx+ohT+GCSze8bCPbsYVuyGQYRY5GrHhio8k9y/DW6kCeru1/DQIgiZsBGvygNGAHAJPcbP18azWam5OOUWj7nTP/Z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5" name="ZoneTexte 4"/>
          <p:cNvSpPr txBox="1"/>
          <p:nvPr/>
        </p:nvSpPr>
        <p:spPr>
          <a:xfrm>
            <a:off x="165948" y="2996952"/>
            <a:ext cx="8758678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500" dirty="0" smtClean="0"/>
              <a:t>Mute ping-pong</a:t>
            </a:r>
            <a:r>
              <a:rPr lang="en-US" sz="2000" dirty="0"/>
              <a:t>	</a:t>
            </a:r>
          </a:p>
        </p:txBody>
      </p:sp>
      <p:pic>
        <p:nvPicPr>
          <p:cNvPr id="3074" name="Picture 2" descr="http://www.google.fr/url?source=imglanding&amp;ct=img&amp;q=https://samaryahyia.files.wordpress.com/2012/10/silent-way.png&amp;sa=X&amp;ei=c2BtVdubCsmxUcvMgaAG&amp;ved=0CAkQ8wc4Iw&amp;usg=AFQjCNFtQv37Cl8IGVtlAyNgyoRfMRpDyA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9085" y="4417734"/>
            <a:ext cx="1465262" cy="14652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804673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1331640" y="980728"/>
            <a:ext cx="5940152" cy="599478"/>
          </a:xfrm>
        </p:spPr>
        <p:txBody>
          <a:bodyPr/>
          <a:lstStyle/>
          <a:p>
            <a:pPr lvl="0"/>
            <a:r>
              <a:rPr lang="fr-FR" sz="3600" dirty="0" err="1"/>
              <a:t>Retrospect</a:t>
            </a:r>
            <a:r>
              <a:rPr lang="fr-FR" sz="3600" dirty="0"/>
              <a:t/>
            </a:r>
            <a:br>
              <a:rPr lang="fr-FR" sz="3600" dirty="0"/>
            </a:br>
            <a:endParaRPr lang="en-US" sz="2400" dirty="0"/>
          </a:p>
        </p:txBody>
      </p:sp>
      <p:sp>
        <p:nvSpPr>
          <p:cNvPr id="8" name="AutoShape 10" descr="data:image/jpeg;base64,/9j/4AAQSkZJRgABAQAAAQABAAD/2wCEAAkGBhQSEBQUExMWFRUVFRgaGBgXFhoeFxoXGhkbFxoYHxgcHDIeGBkjGxgeHy8gIycpLSwvGB8yNjIqNiYtLCoBCQoKDgwOGg8PGi8kHyUsKSwpLCwsLCwqLCwsLCwsLCwsLCwsLCwsLCwsLCwpLCwsLCwsLCwsLCwpLCwsLCwsLP/AABEIAKgBLAMBIgACEQEDEQH/xAAcAAACAgMBAQAAAAAAAAAAAAAEBQMGAAECBwj/xAA/EAACAgEDAwIEBAQCCQUAAwABAgMREgAEIQUiMRNBBjJRYSNCcZEUUoGhFTNTYnKCscHR4fAHFiRD8WNzsv/EABoBAAMBAQEBAAAAAAAAAAAAAAECAwAEBQb/xAAuEQACAgEDAwIFAwUBAAAAAAAAAQIRIQMSMRNBUQQiBWFxgaEyUpEjM0LR8BX/2gAMAwEAAhEDEQA/APTxreuc9Znrus4aOtZrnPWZa1mo6rWVrnPWZ61mo6rWtc56zPRsO03WsrXOetepzrWaiUPrPU1HnrRbQwNklz1sHUGesz0KDZNnrRbUOes9TQoNkutYjUfqa0W1sgJeNby1EG1megwo7L6jMut3pZ1WckBEJzLDwa8FbF/odBtIKyHPJqJn1R91NKvP8S/kihI1+/t9ARWmfw91tR6gll/MAob2AHPtwP10LHofTtxpN1hzhXNZD3seL40x3O/DBSrAg3z7HVf6vugPOI5Py37Cufprn1E2ysHRB0Nb3Uf2yb9lP/XV19Q6qnw3F3LKObLJ4aqADEilNmlPF39tN95upAeMlGfP4RrEFwRkTwDh83nuGjCaiqZpR3O0NQ51mWqTvuvTKHCyOCIyQQmQyJEakn2pmBr3rXW867KudO5xikY0gY9qkjz47q/U0NP1UL02XO9Zqi7rdM7wh2LEfNwT2imfgEAcA8nx7aBhndUgYM4lcKAQHbkj2iLVxfg+NbqA6bPRDz9TqTbpftz7cf8ALVFl+I5gjuJWoyOF7fy5lV7a54H9ddp8R7iPNjKwKIgsoF7sAzHEggctX9NHqYB0y8bi1UsylQOSxHsOdJx1qBiAJFJJqvezqsr8S7icKsk5dWSRmX0wnaWEaDwLFpJz75fTS/a7weUK36qKhCE0Rk7HPwTin9Mh9tCOpRpadnoQW/GuaHvf7aru038rSKuZq+eB48/TToufrq6lZFxoUjrMv87fudZ/jEv87fvoQqv1P7f99Zx/4dWs5NzC/wDFpf52/fWv8Wl/nb9zobiuP+f/AE10v/nGsbcyf/Fpf9I37nWz1OX/AEjfudCmRR7/APDWerfgX/XWBuYT/icv+kb9zrP8Sl/nb9zodSx9q116TfXQNuZOOpy/6Rv31v8AxOX/AEjfvqD0T9dbCH/81jbmFL1J/d3/AHB/trn/ABGX/St/5/XUSbNjqZNl9ToWbczX+JS/6Q66/wATk/0jf21MuyX3BOpY9jfhf7aXcg3IGHUpf52/tqVeoyV8zX/TR8XS74ofsf8AkNF/4RiOSv6ENf8A/m9K5odKQqG6lPuf7f8ATU8Jmb83/D/pouRlS+5bAugoJr9DrJurqg7nUeDQHJ8kcKLPANaR6hVRkztNlLV+p/Sv+uu1Wvmka/YAeT9PGg//AHRAcR3MSRQC1ZNFQcyBz/T76HHV2MsiRgPHVEhEUEEmlXnnLIfN4rnybm5t8HRHS/cNttOr+7eavG7P0HP20t/EaV/TicLGSQ7ISS1A0ADybH19h4vRkvWpMBjzcYAPBCkAksFwojIY+/t7aE3PxNIIo4y6lpFAD+qis1i+OKDVXND5hXPhHKy+xIUdW6bIioDChdaIYXkRdnJb5u+fP9tAnee8qqMSOwg/JzlRsEefYef00/XdbgyZCTGRSkOJlyUue7vNAKxQBuKsMCK4Jd7D4fIUJKIzEQ5apHMgcmzUhrsoV/XSbmHakUs9eLRx4JGtKcxTcEWbsLXP09qPOlHWt9k1dpPd8pU+T/qk/wB6Or31b4eSIB4ZsXxJQZVkByeSe+rFj76qm7k3BYmTI/UqiK3HsH9OxRH/AB0N1A22HfD3T/w4lkQglXsGPnFiyj/678SDjKh71oqbftXGQDoS1xuoIIVgLvEG5Tx5NN/KdJl69HGKeOZyBeRxkOYYPTWAw7lWjZrjwBrn+Niz7KGMKqowZDiZD+UnGqjThRY4s9wGlu8jJVgAnGUrGvLwpffQFtM3I7R/lj9xf0I+9fOaSiOFjTkt+eVSeBxeCNR/760z2wsEfiSsSM7FIqJfGIv1GofY+44gi2hTtlWVWMgNNkpIVHAsMBwfUP619tOZk3VpVaR7I7YXA5aspSIBwv8A/b5131GdRLFZ7Yg0h7iP8pTILrzyv6aWbeQh8KIzkiA7jfaS1Ae9uEFasG0+At+8kn4TIGTENJIighpELcAlvkBHIHn9sZindxD09vBdZGND3H3oHn5j58+db3u7B27MpJ9aRmWjZPqOSoF/YgAf0Grts/8A0vdWWSWdc1s3ZCiwRWOIJAvyHF17al3PwPAkSh9zMqqAp/hYyrEWBWRzmr64sOLvTInZTQrRh1c90ccafOG+WMMxPupzZuDXgag6Oe2O3J4kkILggZsIl49uImP+8dXuH4K6TtCCYTZB5llkYEe9jLH+2nW2i2rRlYEiAWl/CRBiV5xscgi/H31qNZ5t1HdyxJmgdfqy5ChX8w8A1rafFe6of/HPIv8AypOR9dWmLqe4V8GCOxDUzHt7Sq8sq9oJewCLpGJ8Xo+DrsxsGACjVidMTwDYyo1zXIHIOqZ7Mk6fYrQQV7frraD6G9No9ov0r+mpl23+rx9a107jzRONqT7H99SfwJ+n76Zkr9f212P00NwBbHsP/K1Muy/8rRwiv8xGpPTUef7/APc6G4NC70K12Nmx8D99MA4Hj+2tGcD/AL624NAqdNPvWpl2QHvrZ3A+v7DWhuSTwvH1P/TQsOCRNsPf/wA+mpPSXXHqhjV1XJUcfUDzzXB/bUsZA0ljGomU8BTwffRMUxU8Af11rbRlrth54oHx/wBdMdp0cH8xqz7f1vStlYxb4AN51JwjNkRSk8ceBf2+n11Xd98VIAxRizGscqAJ4sgfMfNfqPvzY/i7py/w2I/nQtzziDzx7nmxfuBqjHpLKmDyI8lIzY2AqsoJcXf5QBX0x45NRlPODu0tGNXIi3HUZJGBDHLAjj2UAkg15N354HnU0m4yA9OIytHTSIfAUBD2kn2Yn7gHz41xt9iwZC1sFyzVrLKoJS29zYxb2r9edA9b6qPT9NFDEf5jAWKPgAkVwoy/ViB7abS097t8Lkrq6iglGKy+Bu9vI8e277QqWN4pxkTTElT2lQB51Jt+ott1WqHpgBmkNhghAON3QyrgAVR+1J+lbv0FpoFFtTKXtWS6Vr/LICx55uvqNM32LAZmUIj0CrPdLYtMFFg4k3S/YnSyneFwNGGblyWBJi7gzuIs1KNx4s8eeDYy82RXkaA+It3DEsTRiKR45UlpiK5UhEq8rqieOOONB7qHBg24f1UclVMYGRZQxTOMXQAUm65HkeRrvq/RYVRV26uVWNuOW7gitWQ/lZxkPfyfB0kngLirqw7oHWQcJvSFygk93B9P1LaNWNfmxs1yovTodXikhkdnEhvBVCmwWtVIWuQzWQxFfpzrzxNvPFucZSqQnPC5F9MlUVXAdgvulkcAYjzwdPU6Tutqcty6SpKAkeMb130wX8MYggISC3F0L0sXboVpVZdd103bNkWxOBGTOeA2NA2eMq8j78+dRbTpykI6qrKQC3cCwLXlRHvyPFDg6856A8IkMMhLKwUj1PZiMglnzVceaP8ATV66Jto0nQKwB5NBvYX9+RZ8aarQltCL4j6QnLRgurMRiEKspBORNDkXzf0x/XVe3XTJArExlsPygH1PNAVVjm7B+l/S/VfiPZJLEuURmCMJAqsAS6kY8/Xmx7duhN/08SUscBUqxt+0Hniw93Xk/wBRxpZKsjrJ5DuZWdGADq5awe0eLHJvz8v99GtuDKg9WMFlrJ+TkzEAeAcB54HkD60NXLr3wdizEeo/vmqgUPuAbc/UgA6UD4aVwKkWzVUwNEGzYqwKBN1rOUkakKR1ASbpIpNtIgy9NXKtIlMTVA2RZoHjj9ORdfQ28s0SbZdxAWdTnC0ixUp9RkZcgqsfB7SeaOq1telHNXTck+m/ivcc8XxX3+/jTX4Y3A2USoxWZxLI7yF1B7gAFv6AVx/q6MWJK2WqbpMwkdk9Nkw7FYMXLBfDNkKBP2Ogx1TcRtT7L8ygGOQH5uLplFAHzzrW6+PUWPIgJxdZqeAa/Kftx4/XVa6r8ZTfwzzq0Yj8gE2zEyIlYKbQGye7kBW8jnVExKLfu+vRqAJc4siVyZLCnBnuwSAAqk8/TS/dpuVkpFSRSwonKPisibOV8fQeSB9aR/BPxIN5OqyQsPVuiguH8MFqYs1hyCfAqgBr1E6zb7BVd0UaPcTlmB28hxCm0dGQk5DEFipJGPPHuNO4vhrNQzyzIxAJVWUBftQHtpyYV44HB+mqr1j4tmg3EkbCJFBHpl+WdCikvw4oZ5rRH5b99NbaE25YjMwP5v2Ouowfqf3/AO+u02g+p1J6Z9gdXPKo3HCPcgakX0x5cGz9H4/YajG1vz/x1PHtvYDn99axkSwrB25P5v2YHjz7ke49tbk9JOfTXEmhkXs/fyNRQuAa9Mv/AL1f8tE76JJACY1Rqq1bnjxfHOptlVlYOoeowgikBI/1aH6nuPGgNwXkPexq+F9h+wA1NBGFUDk0PNCz9zXF66L631M8qmDLAB7f21jCh513/Fgsy5C1xse4y+X99Y0YJB54v9KPm/2/to2I0RKx/XUsTtfGpodoxIuh3G+DyOaH6+D/AEOiIZFjVhYaRb4vnwXAr2OP20rkkVhoykF7PasR3MaYciz4+p+2hd78WGIyn02kCggYcm0ieZrHAFhQAbqyB71qp/EPxDLnIUfAY4cA5BopmHHI7csrNj8gvuF8R9ZznWdQzYRkypQVSPx0XFiQrGnRTZ4pOdRc7PRhoqKHsfV1LSrMyhHACE85PWJGC8gZKDRqy3Gqxv8AbAOsmK04xLBu4lA0TBlN5JSrV2T47SNID1OJZVaN5W26SgiF4lcoFPcUnkk9UOcWa+AMjxWh9x1hpS04UpGTimTH1aByJIHaoLm/N8WBxpNrb5LRlFYLT8M7YEzSRljLOJFdWshsgXUeT3DwScapq86i6dINwJVJCYSxoKFM7G+wBe7tUk3XGZrxpZ6LwDEgUwHg8AMHBkkH53ZgW8BRwKqxqTpu33ErSKWyzEZDiyplVGcs4uwAGBBHHK8k86Ltu2Uwlxz+CN+mZVzShsVy7i3qfnI8AcAggm/W+miR0thHEyP6kfqiORcLbKQBVPiqBDZck2fA131/4Y3EEIznhYjwkUb5KwQ4qH4NdoX6DLwebTwTNGDHGzAsGaQnub2fxxXK2PJ81lofVFJxiq2yvzhjBOsSRoY3i5YoQceAoNI2dcEEk+3zkX5OmfR+vOIyodGzGbBRYyZWUlSo8UIi3dxbV5pVPT0YKTkVRWNCzi8ZAkb/AFfOKlQODlRuiO9rLE7qjYkAWvLKvFLQxOI7R4rjitK5pEmk78B8vTzv4kaay0Em4Y80DE0ocAYijz2L55H30/2iRwNBtm9IIUPOUvrGY40Q9GPEkntAr9KrSDp3UYlcAxRrCqkExRWrElZArY/5ZBAIY2DyTV6n6pIWYNI8SsncFBQhhHk1lzRRfAzF0L+h0YZW6/sTks0l9y2QfD01IwjVQoqWNmuQMaYEMrY0FNEff7DVe3fTt4cQFMbqMWPaQWCg5AZd0ZPA8HtP1BOT/GssPqHbSoxd8mz7rxiwBX/WIiXiwOH9/MvwR8fHc22+VQzv6alExVQFRwWtr7vU8/Sv11RxQm9qrOOn9N3+3libONkYrmMzlRVQz8ikxYZBRd0eedHx7o7zcSLUsEoRlSVouMVYgMrFaosVOJHP3AOrtuNtHRBFcUD/AGFfeyK1VOh9K/gIu9jIzNEAjOcY1oGUqCaCqWIsV4Ue3Kbc4KKSabfImmnaHcXOyzN6YQrCmKqWOLE/ijvOZqvlBHmtNukRxfg4rIkjumJkIza1f1CwBrwhb/f+ngWfouzO9km/jJYzEQf83sVitt3EH8pUVY8nydQ9c+KfRlRoQrKA5DjEh2urZlGYYAlOasH6WdIlV7mByvgYfE/pbeAGeQRZmlwUEMWNkBOCW9z+hOvK54c5bjlJFcXaknx4uh7f99WCTrn8SdrBk0ywmNRGzqDI6Kq5B2qiSDyTzlqvQdOka5YxG699wMSSUzeuCKxCEe55vjQw+APJYI+noI1tiWAo0gAseADZ/c6FPREYkEsC30Pn9vHJ86D3/VnYG6X/AGCCAAOPH09h9tQ9I6s0YExlBGJAUk52bNkVXHH99LkGCwxbGbaRyRQP6Ydy7c4vdKpAf8opKsUeTR0w+Bet7oNHJJuHeF1ZysickAcAOSAGY40Ca83WlMXxGJIWBW2YKquG8FjjyPJq7ONa5XfPCtxvWC9qnjwOAftwBzxprBSZ630br/8AEyNgn4a5DO1YFlYqQCprmuP0OmkuyRzbIrH6lQT/AH14x0z4xZFSJZ3GCgVdWAPm+/1/rpjuf/ULfIcYsZFr5nxu/fyQf7adaqF2lkRTrpiF8n+mhdl8RPLGrxKqK6gjsphfsfuPGsWE+WOuqzymicbxfZcv1/7aPfqbkARqsX1Nc/0FV+96XgAeK1HHugzOlm0xvg13CwR9R5H9DofUaLaNb53RbQeo+a3ZrtLDM8e+N0PrWpX3IAJ8Ackn2A8knWpGABJPABJ/QcnWlcMvFMGH1sEH/iNYxqfdYLk142Lr2sgWfsLsn6aW9d3xwVUPD3bh1AVQVWTk+4RmPj8uiN1ljHgbT1Aj13ELRQ1Rvtar9xX20N0rpJdcZSykGUEAgq4kAbMEDsIcmrAPHjkaVyLQh3DpOkmRTzTHEZAUaDA0f6X++nKdMUowdqUjGxZ5bt8VzydAdT352sMbUCPWhjZmulRnCsx+vHv7XftqrDrU8kMzQRBwjrgLLd08gmBBschlUCyB3i6qyjkdGnoXyHzT7hY5TGVcxbqoiXoFXhCcjkkLLIbBB8E/TUHTmlUuoYTToWd3LIcCoVAoQlSB6c5b/dFnmtRdOjlj2k8U/YryRIkfBYAiM5JjRYeLAPs3gjQHT94E3jCZgkKqCeQSzSbeNCcBeBpx5+vAvwp11SYftFkaRYSYyFk3GS2rXHKySqxIFEF45VoeAV+41Nuumw7dM2IgEkckHaQDi5APaSo7WGV88XojbfG8EUasE/GCJE9lRkkbNh3FgoJyJAJABaiR5K7fdH/i/UZD6hYGVVZpBaSDJSikFEJwuuO6x7HQajy1kyTbKn1CKSCVl/h2oeFLoRQGRc+ymvr48+DoAdXcl5fSjdTlIVMoDKgUMBRWyMSAKuyrV4Oj9wsksrq1qVFsK/OmBwVUB7balJBAo34vXG8gWR2yXOmxkBAuwo5LDi2YO3B+nFadSN0reCfpOxkzUzGJU4kdvUJHpu1NZw7GUd3PsQfY6ZpvdsriTbGRGVwsIc2tFsG7o7BHpgAZcg2OPGk525uEkWFvsAt+blbGNVrEl2pauybJFASbaaL8FZS4RRHGpyHaMlXL5eALYVzdqdK7aG09unJOQDud80m9BcBzmFoEFGsgAWSBiTQs1X9NN/SC+ukZV2OdJahiloF+WiT3MR7UAOa0qnhj20skkczPJtnZ0VomCu0UmPnwyhuDj99Ptr/6rPNtJVmgHqlGUYFgCxzU8UcSKFcm78jSw05JHV631UNWacPAJ/iMUm4U4EFlUZDIIWMjqvN2qqfAHFA83pLueqNj2k0z/h2gyGLANkxBL2jEAgg2DfNab7DYRNGHMuSh6sIwuvSLAdh7yXontN1wfebZ9MO6MKw4k5YRiRbCssPrHkLweLGRN3fHJ0O+TiK/N1YF5vxWxKgqrKaaTnziK7QBVg3fnjR3SN8Wj9SzmTjS2EFHuQgKeDHjYBPzACrJFzb4J2W0hD7vbszmJmOEsgJdcbQKZAuRJ9uONdSfBKTuDt849qSEApi6MpcyMQ1mmyAsHjEfpp6VUjRk07fAjWOFAuSMQRiWsFWXJCuSNQADSsxa+Bfmq0z6K6lZY5EU2E/GxXIMFMjkgg+a9MccYgcedLd506dGo16eMiqO0jtYQIWNUmagNdcWASC2m3UumJHtTLHTeiuGamRVLg3eD2ZKNuWBtjzQA0sU+Cs3GsZHvwt1YOJBJK1wenSuxA4SOQ815BKobHmMn3J0l631R0SMNIw3A255BZ6xaR3a8QMHCgZGuCboA6D2MsX4PcI1jnWR3JUjEUkUbOxBWMBODYs2fc6L6z0KVix4CCFRnlG2WaIHk/8A5CAhYfdv66z4onyyq7naGS4lQBpvT5DCyy2oUm/Jri+fb31AkjplEtPk/hCwINefHsLF8Hz9tWmHaFuobSJz6bTGRo1QFXjj9OULYPK2ic/cEe2g22rKQ6PEyhmZh5dI8QaFLQLWzMTbfKCOdIos21CjZdPUZSq3KNZWqxAkeiT+a8bGPi+dHRbVGWMqXJl8L8pXH8M5kfdCPHkH66j6RvjHCzo8YWRochJ8+JYOVC0aQmyTx+hvTPf9WikneTcOkMjoCgZ6C2BVUBlS+3Fk6bamgJ1yJtz0VQ+WLBak5BDHJVJAoXQ+Uk14NDm6StgxBCYHFQ1tkPUru4Hy2bNNzyPGnu3M00jpEnrDkMQoZSCMvJ4YnzV2a8EaGUyRMXl283IKC4S0Q59saxNjmvp+wg8ZRpU+CpQ9SIla3IX2H3J+/ihr0Dp8oGwkidFZpSjBjIRQA4BFUTTH3I7h9NVH/wBoktykZB9/UcH9KP8A1026rIR3t2UVFA5DiiTZN3QBrxwBrTkuYiJMhfYytkyJGyJ5F2QKFCuP/PbXWy2HU5wz7fZsY8iAQkZFjg0ZBZH6Ei7970J0lX9WUqWIe6LEg0fHvxxr2D4f6nHBtoo1kelUfQ19R41ya+u9FWo2V0nK/a6NQQBRSih9tc73demmdFgGXKvIUkKW/wB28j9gda6XI/op6wqXEZ1RGQ8kH6e/jRLNftr1rPF7mWNRk91+5Fft/wDupEgvzoiPaj2s/wDD9tKFIWbsuXjTEtHKWSQgWEtGZSa/KcSv6sv1002HRvTRVzJCqFFkk0BQsnm69yb0SNuv0Gku628pn3aAyAPt0eJsSYwxLK6eMbOK8E8Bj4uyC8YqsnUfQD6LWfxfUjLMPMgidVV7AAzaJQW482PAFWKRo0jaQmlUFjwfAFnirJr2A1WJN8Y22UskqLhC38SGfHj0siQnuSyXj7BSR41V+ufHDPI0sJlSCTbKzWFrFlHgWGDh3C2GI5aufCnVGLYy+Netod2kaXxE6A5j0z6iKUYAeTmyfMPC2OL0n+DviFFkWJw0pzPqYl1yxvFaJCZAgAZEGkJu24T9Xm9ZtqfT9IvtWQAsFcTJlHFkZAClMqFSWr2Hitbn6NI8O5waNDDIHY5sZCuHpSsGUlsFZSW8iyTdVal6pUGbrrrb2KYsoilR45qYFhUivEqKx/IAUJJyBZbx5ICHedRkWZg7ktjeQILepTFOCKK5gMaAsi7vnUhT0jMzELUDiP1Q47ezFY6Fepmh+QkVldUdddZRo5FvuCfNkSRLEFr1fxK8hfHHlqsFSRT3WuBk0o/Mzbz1HIwjtlVc1VWR1LteAAr8MuxITg8VZ1YOn/EboSVeRSpCo4BNxmTJqWrdQ1D/AHQKpq1UJdw4zU4liM3BQePw3plbsKqysQKK8tiFB5Z9PkJDSPkWwc3HRN4t6eZemkfIljbse7trwC8BXuwWDrPSz/Hum22ob1GJZ1rLFir5AepWGZyPtf01L8L/AA+snqmWRgYPRzCkBs8EtjSmzbNyTZKkke+q6vW5YgQrGP0oiqqDUoDDJFIFAMvoqSVskHg2ObbD1fdepP8Aw6tNCLLUCxkIABKNd3jkL92APubMavIs/asB3XtjAJlhykWX0gy4oXdTK6xZX8qq2A8/Q+5APkvU5n9QKiyFVN0DTWhAJy57sqN+3HA516b8X9PlZ4p1FsFGaLVn0Czx2GUH5mDFfluMc3zqqfF3w9LuI7hVXG3GUvdyWkPzKoNdqim4BpAea4MX2FnwmKJeiuV9T8QXC7HvuR2CNK134BKmx54PGhtk3B9RJBkKIWrC2AGGRrI4P5+/sdQs+7iQxpNlEwaMsh/DoqS4tlDBcWJJqq9+Nc9I+JHhVYmClAaBxBZRbMKNiwGkc8/zn24074JxlUrGPTN086MqcHKBVDX6ad5BZ2IpVOCWzWTVEnwbF8N/EkcE0Qdcyh9QyKWpWZBC0oWPiUsGK4jwEFZG9Vb4f6gzMIZZWSIuC6gnE4AlSQBbKDdj73550w6P1l52ZSMUaNsmIY0a7Bjl3U35j8wNHk8o1WSikpYZ7Xvkg3xUeorNt5gOLwMnBMZPIY9oteSOLA0D0zrboJLhDom5SIPTMXZ2HeAOKOZxcCj22RyR5p03dBZ7iZizOxshAnrrI8tCzQDAIC8bCgvuLOitv8Qgu5bAhJ/VUSAAGcJ8pPCRuokrkVYNCxwg+3sy8ybs/wAdCcysSybhGOR5czLuMaAo8Ko8jHE/prnqI28kqQo7VMrSsJCTSxth2gg9xYEUK4LEcAjVTj3AZMXixkO3LmRhciupjODWAz4DgVxcrXRFnmHf97bpQ0W4jkqKgCJAMm9Jq4h7COOB+JRBsHTKnyJtayh3/wCnkG2bayvuWS5JJSVJqMRx/hkUTTiwxyq6Kg+Bq/8ATo4/4YCB8kC9pBLUCMgODY4I4sHnXms3WjJstjCXSJZUHqNlGHMzcucSKHcxoe5YkihqxfC8kxhlWKmhfPBmKmgYkSIqq45IMKIyWyW54Fo6WQ7Wyv8Aw503cPM27khIsSCIvMQ+BXLMee3uKnwafi71Inw4rg1IYpppWjWMsuILLnI6j8i/mx4N+RZ1YW+G551haaOFJAHWQWGRFLGii4m3KKoyJtQ8lHnS3qHRpEG32rwxS7eFo7L2fWW7d3HPNjIgAksa8aW48Io3KTtiLc/BaySkLNDHIqk/w54d8LS1Jk7eFs9oAsDjSjqm1WSWRD8ykdp+pNcMPp4u64OrbL13c7qKPe9Pizji3EpxoKX/AA2jFlmAESg0eLtAa1fJkh3O19aVBXpljwMlxBsBhdEG/BrTtWQPGJNq0FvG4j9PuFOMhgMSavuNg+x4OrB0vf7ncuI19KVQKYOny2Ls0PPvq19K+HpYURpVWRCciMjSZ9xLLib5PLDwNFQ/DEaGOYIcgxPabA5Iv61Q8eNLWDWU5Pg3cAlWRHW/mBpq/Q/8NI5unIGCgkOxVxmeCoAKsB7CqHj7eeNeo9S2ySxyCJ2DtS9rV5IBPJo0CTQ+/vrzv462bOzvH2x2YgxvjABvp4yFUDyV+ulkqyg3YQ3w6VQOSoJFgCgCPY3oKuBbYmjwWA8Ej6/bQnRdg27VL9VSkeC3mvcS1sGUUQt/Kf5vfU8G43aAqXmSiaUJlQ9ucPNckfUnWjHuxWy7xrfvotEGounSRyIrobUj+o+xBFqw9wRY0eq66jzVExFH01J48D9tYkZPgaG6l1yLbNGJQfxA2JAGNgEhTzdsQFAANlgPOg2WhCwnpm4WeMSRsCrfuCPII9iPcaS/FnxG+xlyOPpeiS1qeHshDfgFmsAEc4HXnI61uWimEUvpIkonC5qApkJVKYfmWSMkjJQbJxrgMOufHj7mLcwsuJkYekUCkqpssr3w3KHkEkgiglHSnStOngtE/WP4np0e4OIV45Y5RJ2lpPSeMqAKY5M1nBhwOPrqizdMUtIFiEeGA5kyRVLUTZI9SlQ8fa/5dG9N6IN9t9r6EhCQrHFuVBTlpHhSQhhIXBJjDC1AJFjydKd06ruwuBxIdVBIEhAciNyrAYhuSMi3aSe0aDLQRN6yLDYhI9QzANgDX4kRjay1FrhIvK1s91+ROnTOF3Kq8io0SgyKeQGdXUSW2TENaUvnNya51Pu0YbHb4yBkZ3skxri4YkgizZBfiifJ4B4A/Stm8hkVZACkLOyNGzKcGph6a+eVUlqsWPvrZHwa3ziRIrxB7VHy+ljGQoUHEEAZMSfb1D55Jmh6wyblBgSPrO7KqH0wgQuoPaCCABfmuSSddb/ZlEeLBFKOrj0x/wDWUX1BRkoMAhBFZEp48krpRuSZJJldY7OQU1wiswvPIg4qAAR+UD20Ld2Ua0nBJWpd+KGcMBuOb0w0MilSWVm+VSuWR7+aRgQRfF8HRHSd2rko4haQoo9TJUIPqWxvlWtBeSjgWeRyLFtN/tNntA0SYyTQxsAJlZw8q0rhOUDUoIGJXtFAmxrXWPjliZikZWMxhS2N26uyOoeNWxVlFgMwu1o8nWrIq1JOKTK4+3e3AjIU5r+ICqlkGPyADGigWyD4I8HXEXUkjhkWeCyNr2DAtiGkxtQw7ARl8vA4Nn2Ih2bJJt4payWX/MDLIBFIFoBWUqQFZsiR7P4+YiT7g+pMIZGZs5IhaKHkxYAH1CpByLIbsGgSTXI1UC2y7xdflXa9NRVBEtK2WOLKyFUUkng2yrR5sE1xRqm46cYS6cySyAxkyEMsbqWjdlQjFgzE2GuwSOL0p6VuiYDODNEqPCqkG+/H8QBjygMbDEe4I57dEx/FEczi/VzVTleI7r7iWY8sSf11rafA+np6coyt57X9RH1xGiB26kGOw+Vd5JjVD3Xyhx8H/mdL5OhN6ayIcuxnIPBAUgUP5idWLqO6gaQfhu7VQCyKW4HjEG7r20u6h1BcYgiSQ40y+orU4ZxRBAsVywI84kea0252sA6WlGErkm6xV+V8kuLAtpHJECSKc5RkG/VAIXjHyAbC/XytVemLdAwPe5VaKnBTJnJTMyKIzynbRs/cjyAX0dY0/ElUM0cX8QCpag9s8YYmmoKihV7gTKCb1F0vp4EDZFzKpe4ngLRECPOjIBauwDdysCo/2jqsIbld0c+EGxQrMaLvG0W3iLESIrM8liRaoYIGIWj47vOeuoNs38SYM09ISJeKogWjkKo1ZwNsxqr5Hvrp27XcFHKj1I7YMWelDEooruMpsHlQrEvyTiDqPcbKNymRRoI4EEg4zVmV5FDMnEpLqWsZCl8CzqL9rpleVyMZdxGjHECVg57ZEqFcFDsOSAjdqmyT4JBGdaD2O8YRRembCxZhhEvJ5dlAFFwrOIihIBxY15szb9Qgk3ZfKPCI+XQoZC4K0UN2gVSCCK5UWND9I6QZ0Kx3NI7I0K2vyCXkEo1KQgZitH5iaOlk03gdXQz6ZvWEjMXVUVAqHEFnjlaNsB8wUM4KWWIpwFC0tMPhn4wO23EUcuCxSs4BXhc2Kngex9RmLCq7gQfYC73fGANGkapHSeoHGYtXZ40IZqEkbVz3Z2ee3gT4T3PpujzK7LKBEHW0LNMqMFLMe6OwCGFLbiguR0jTayG0uD29Tf8AYgiufeiD7f359tB9agDRE/mUWv8AtAeP0OlvRPiSKRJDkqrG+J7gQpoHEtVZDIce11qbdbwSA04FqwFYkgkcEWcSb55se2p221HgXbWRbsN3hE0ccaLlkz+QCSS7kAA93k+9k6S/CG+jR5toJA8BkZX/ABgXLnAuFFBsBVcAeTdtZ1ZUgUng0R4Ni7B4PbwOKPtzfA086ZMDwwXP60Lb78Dzqrl7tpNxxaCqBOPfX2JH9wb0snWHblmkZQCPB5ckHkgDmrr7abhDndflofuSf34/bUG92UUwHqKHC8j6j9ua48e9aoiB53u4USb+I2O6RQKMkchJbAfNQbuurq/H1rjSqPqLSQ7aJlWMHcqWOTAvTF2yIII+bz9SPNVq3dS9TcsySQhFmlSONDRkMYKtMxYNS2ikYjwRySTQq3UPh/19zOEIRIbxGTcsfmGd3+554GjJJDcD2FUBZlZ+LBjDHG+OQPJ/XzqbbzKgqpASbORBN0BfcCa4+uqj09WglH8RFGVJ4RlJk+xF8f1P769A2nW45EDKhrx3LRH2o+36caigsrnwbs5NrB6e5xzytcPBUi6P+sCSL9wE+lCyv1CJGRXaNDJeORonEW1Enkgc1rieIBHJOChGJayMRjy3H0HPGvIOtDdTGGCamm9NaEgPcU9R7YjtAeInigzBUu2GWrWQjHdlnpnwj1d2aTbbl19eOR1UWgkZAA3KrwWCspLAKCGHHk6i+Ofh4b7bB4GDSxMyoyEGiWCv491dBx5FEfpR4opW3G1DuwmQKFkIdZGjCEohSvqmHqVmQwJvGw56Z1CeCPqZBeM5LJDI6ktIxObFldflAGLGr/ENHhdLyX2UxV8H9CbdQOE7GBMcgMalSRTK6vVKeczYU2f3g690k7GSNfSrOgpD5CTCu/EilOUl3xWRBFeWew6h/wDMEm1SWCHdgdkbQ90lDuGRaNCS4v3o+xGrf8Z7JDshJPHCDEysBNJcYs4kMa7zR4XmyBoNsssStnnPRJ22zJJIrdkzJIWLUVEazKuApSp4+Y33EixxpR1rrLjf/wARtPSsMPTK92NY2imgrLk5UVVhq8jje9ZhFCaCh1fAIgvjH1Bxxw6VweKAF0dQwSAieSO2WMxu4NgW6uj1VEKSQf8Ac5JuzXSklLLF1I2rRZf/AH9DMjmXaNK6jwcSqSc0SxFiiL8A8aQbbbGOgsoWV4+1ispkkWYiPFirCjZ8gHnKzxRabtpd105ZmjJxxUSKVdTjaySvGyAqw9Pgo3/2fbVegQYP6gyURlaq6YKQOQT3gOwUnhCycEeNPzd/ahk49o15yG9Mkl3249MLk5QKcvTUIEVwfPlu5TyC5IaiPIY/D00kdpJ2w7gyRzJKwC3iaYsB2kspQPXcGA5oaS7TeTYtEQY45Emb0+LsrmXf8xNIFDMPrQBGmMe2PpxMxyDZDLtyzZ3aig5x7gB+w540q1OllK7waEY60+m3WLRv4hatwY4wewCNFjjcsqwMwVASC1jIAvVMReXnQTThMY42uNlaYhAAkcmDSAhSuXEUSNiWpiL50b0/qypT2qtKcBI4yIAIckH5s8VoEc2eOaGgmWVxB6MiqXTEqeIwYyUNccqAxYkmwD9uZrU6mao6NX0/Rltu+CXpPWZpAWUGhIGEhZiVkxVFHqVR5NhOOGa7A0d02MSTxxjsjENn8qo07j12Wl+XE2Aa+QAeToKXaEqVVZvSaRmmLtGLKA2+EfFE8fmHA96Ot7Do77gSCeT0pVaKJlkZKlICVbGQPl4PGVVQ9gHOd+CTYbgAwhS3pybhm+aQ20bB4xjHLiHRQBnQ+axeJpluOrvvPTjhUeskoRHdIhA4ckAP+Fziii+R70DYGlGxiYNGHchY2ZfwzgSHvLvC/Me6uD4486m2O0yaSOGMlwySxrZ4UBLYUQGYAtQN3R+oBXcrBXYN33Xpdn1Hcpt5FitlNRpG6onzCiynBAW8AAgVxwNJOt9Xn3UUrbm5ZY8ULYItXkS+IUE0FGNVxISfbVp2QU7ZZJXXlHd+xBJ+EBEM2r5RjZ9yQBdAgon2iTAO1hxMY5Fyq4wFkaiF7QxLCyGINe1AM5WwUksgvUemyRbYxtzLKNrDTkKY8F9Vh/LiAIxZJqybHI0rXdusKGGNkANsA34bkRC3NENZBLWKxyI1aN1vEidJYzGDA00wEsh4Mjmo0BFMDQJ9z9rJMXoXDHuJAAWdSFE/nJbUhEy7ivBDRilAFAAHRWpSrkZaSk8OgNyPXphLTkYshfwGQBqFgByvcaJBfkDxqTZNkc41xKRusORRYS4CsxK13O6S9vPdlyQAaI3WzcyMqp6iSqfUIIWJm9SSaNcwSA1xs5rzQXjUXUFhl2+3jhiWP1WlEchY5mSywJJAbFnYIvH1JHA0n0Gkq5AN7B+AoTFTIkSMfUpywzUtwQMTfOYPBADDnTCXdbhDEBGyXAYoVW8ikg9QOsii7dVL2eFsk1ydQdX63EHbJpFxUIuC42uJBTFlFgNZz8kSt9gOoIWO0k3FlfxlXbvkFQ2zK7EHiNAPF0MjQ8UTVIXdk3t+oBIWamUtt0Xljkxp4jNyCoLFyo59ru+NCSy5Sxicfw4lQJKQrHONVC5FeGQAooryLJsg8u5tiU2areZdIzEqD55ecXZwcmGZL+StmgdLv8UkdJ4z2MZIliydmQuJD6jmRgclGPuaA4o+SYuOb5DJSxXBGxdFn9aRwkR9IxjFsmyDRgUbZVWJO4qvIIu7Gpd/t44IY5Wj9SOTxIAo57rXAtlxg1miPvzrhoPUaQr5WLl4kEls5CAoQQzW5JL1kC58itQy9HMbQwg+pkiyO8RMhHBYKAEtfF1RJsXYFaCnQHDwBbXfpGcpVyUk0F80eQPmHjgWPOnXwt8RGLfJOqtguRCP9CMCPqCVLc88/bQP+FiRWlET4RyBBWbFLBP3YgUASf5hyNDDaqsyotBucqa8SF4BvwwyYEexBGi2qErsfTfS+px7mJZYmtT+4Pup+hGtwbZyX9QKcnJqie0cKLNflHivJOvAOm7t0fFZCtWD3NjbDHKgw5A5B/1R9NWzp3V23G7jdJHwSWFMbfxHgGsH5rALE1zzpHKuxuna5PTetQRLE0rop9FCUscKcaFfT2Gqr/hDxbGN82QumbkBSyO/cO1gQVNhGxrwD9dC9Z6285lh9LON5UW4wWkQEnJHA5BwFiv5T9Rdln6ltZUKt6qjxRTcJ54o9oNf20yyJOLhhlO3W68pKoDWCGUDG65u2Wr48H3++tRb7dRdqKuPse7kfXtPP66F+INzHFKsSMZUdQFc9pX7MaAJHjI/8tKTunHasppePav6GjY0lO6oB62rfcD299Vv4w6RCu3l3IVRJFHkhZmC5qxZBQ5ouxFDzlXvqly/EsW96Z6M83pbiJ0aJ/z5R9wZO4U2Ni7FEjVm+GviGDf7dtqWlDlCozI9RggAZ1mW1fyPPdyby86q1QsY9ysdQ6usmyj3DyF5nkaKY3RijUhqUoiubV14BJqV696sfxHvS/Snkf09wTGhT+HZlYIzYCUA3mVZgcSKJBBPnVN658NS7OHbKMXfbOZixjYM4Vg2fki1sRkeWAjv5BpEerzxqgil5x4jXFs3ZgPS9JfJBkN3fdmfmAGlLUmsYCtruXh2wdTLFJHuWbMoCpBUFWxdLEhMagNdc0QfOt734rn3SIHkeQlmjVOxh+IAotQoDseApNVya50u2CMVnjd7jaONnf1e0MrkgOWZQ95UQtmyAKJNcSdQIjk8oQzeVAUOSoBx8tIoGRZicS9+eW3yH4yND1hfTjSRRGVUoFAdmWaR5iWsyHO1KFgSaZiKXSnZloVnjdqXCwCynmw5agTZxSiRda52chZHU9tIG8HJgXTEkgc4kLRAF2ODqCWMRt+I62B8rEEsbalJDWoIC9x/n+lnW5wZvaO9vstxtw7ruhijBVgWSRlZ5EyCYJxkAWYkCrQ8g6wo7ONuu1EjHcSn1ZAyI8zWKrOqqqtsr8UTRAbpJ9XEhvQLkhowzAxqrFscmGQal5L2tHxfMkm43MqxL6zn1y0qxBSB6iWbDUAFGPzZEjEE8c6eDi1kzUrwPdj8HbhZA8sbYwIy9jI2ScoLUG/lJY/ZEAo+COpbRBIMExjIYYh8TCgkYWqlgRK5VlBsUFckkXpDD8V70EbV3c5Ni0ciq11+VieWQ+9tiQbNjQe4Mn4biIDGNV8XgFpmHaAaxYWPNNR50jafH5K1tfKb+RPLB686TFmb8UOAFohVVZJZZFWwi8pZVgRZON8Drd74Q+lFgWEEryAKoJSK8vJskG7YeL4J41NN0aXaSiJzHOkzgFQfxWQnGN8Caj7gD818LdUNCpHgscqxZwh5jlRyCjyshUWB4IDL7L48aFrsIrvOL8h2x2KSQTMv4ipKFU5CsVKyKqu1sGtnFsoVru78a2W5SKYhkctRkjGZUhzTQoyk2QlkEAg8tZPFD7Hp7vFxGkULqGEhoqzB2Z29RawVIlZcG8ZDwXGoOp7ZiJWZRapHJzioxkJKlRnTiqrHPx71esZulQVudqZNqkyEByzh1BW7XHtrhsx3GqquebLMJC8iGMo2MhXgliCB5yBAsEEMOL8gjRGz6o0W1FMGzlXI/KeY42rEMMyptcyGPBqhrIJ5hdyRoCWbmQfhRqSGYBbLp2hQTzkKI5s7bbyQynf4CY0eaKaSFpMckXvpiCR6khwX5QPUuhfggk+REJZYUijxJdS18HhixHN/7N83/TU3TJsCyZMLtgzks2ZVVLMoouQqmhxybF0LkChWZQrOWbtZO3mw2KyZZOVoeAFNe/nSWUqL7le3cLNI6+mWSwrM+V5oVEndfa2d/fu8V5d9W+ImklhEyMACS6JxiFHZgQvaqgquQ/Knn31Bvowq/hoGFBhGcmc5cBji/P8AtUSfrS0IP49TFSRnInJMGXIUlYkA2UkZ7K/rwKvVFkEXtuh3LupPxaiYYhDBeIwT0mRcUUlR2uSfqMC3NAqthvGbbGF8o2EqqXYglWkdmaw7KYipTJiLsE3Xza1tRMUjY3x7R3m7u/pvkvBaUNFdN5yBJ45yLpon3EvrPUKSepJlIBwQUBAUm3yUIWBPze2lwWW5q0dbgJBuzCIWklkDQ1atfqMBG8Ttfzg1X0f5jfDTqnR3hhhhnLxOEaT08R6eFsSoKg5PkVBp/BXtHDaVLvktZIY48omKxBo48WLSO6B4+RGUJZVYkEkjk1Wo99FLDnBm7kJyULvGWlcR1nXiolAb3oAVp6TJNtS7BA6oxDSSiV5YyrTFi+ca5dig1+GSOARiO43yNHdRd/Q3BQZmWnD+mFAZGQlRgSyquYKgHzbEnMDSr+GEMe6UoBI0vpFslXCIx3woLKYwVIPPPbZB8HEesXgeSPawWhxdlJZlxCYkgyFnCgF2NAAWSBjpaVjqToI226RVeVAxm3Kyqn4vfgiovAo1KJQVBagVJ88g66LDMduZAEkLsEcFvliUYJEMTiHBLDv9ifPsH1/p8yiIDamMq0ah2ezkVyUEAlUvhrSxRQGtEbbpMke5l24LkGYHllpiQDZINg5V9Rx+p0G8GwshvQ+jzIZmdWVkkJjGB9OyrKe2OzQlKsKIBw9stcdM7dxLNvIFmMmd+IwJKVlIYkUmClKsnleDzY0u5dtwUujwoOR4I9mNVRo+9EVwfGtP1VzKec1UgICQeSSKx5BvJua8AXqe51wS5yWLbdM20uxsi5ZVOLqlViBHI5KjFQGPCWcsTWV8GfAsmz2m1IaCU7ko8pDRysoUlggEigqiEALkaP1rVe6d0x5dvLEajEKN6ZIyLS5CUluCVBBKkKfN2CfLfY9WWOJF3cjrlC0XYbUGalNohIIA58Gslrw2mTxRXbi+5L8Kdei29fh+u0XqEPGRkECBRmWrEhB3fN49rrXqHw/1htzF6hheKzwH4JFC/PNhuKIFVrwfcbNTPJu0iKwLuDgoZUiaJXkhAjwBYmgbAI+U88jXo/wx8RxQbYgTbg+ngrRywtcRLBMQS2PDHxkWo82dUS7EZ+73Fz6xskkWmiEn6mjV+QfY++vOupdKi9V+2OTuIB9QqQB24kChfF/73nXprspJU/MBZH2Ni/64n9tVXrOy2iy1Lt0LUO4tCMvvTSK3m+SPIOiSR4MFIsqHCigSfIv7gUPBoeRXvWj9t8SttZ1mgxQqGIS+ACAPT7vmDHnj3JPGod9vFlQTGHEs7kCOZFjBUDJjFgWUG7ALi744GlrgSLYP6H/iDXNEfT66PJTc48HoXxP8aQbzp8C8zP6mLZCSL8YAY1TUeGYiy3yi6JB0kbr5VoY3CF9uJQk0ULM0fcFWQ18xuOgQFPPd918kjKtUpR5FkVY7HabRXWOjgO9qUjI2SQaB0qXdvllmbyVkYuMUbIvZJ4u7NHm+a50uClYJd1EzlWCMCUUKSxESswJlJJsUBldMAMWJ8Ea0kKOm2FpiqyWFR2IKuSZXAFtnWI8UAAaAvRjbkOmMsglp7R5GtVC2XkZRbMXNWCCTiSCb1x0d1dhjElorFlAILkuZAkar3M1DAZE/MOKAo8mqgjZbXFHWZvRLYBMyoYD1M1DQ8MgbBBmRiASb7joHdRRRuwKKrOe8yBmCqwHKqnPcCSLo8g8cEHKjs0800fC0DFI3LSp6eTfQjgsw8AuF8eB5ZMpWAVGtpFRqpWSTIZKuOUhUENlfAVQANI0FpMY7uZJPUj24/DZhkjKVhXHErIbjDBiqUQS3nk0L1N1jf7fcPFBstv2Ia/GYgEBLJJLkYFQ1NxzXHjSibbJHeLBgSy5Mvc6+CVyFRoGAa2I7X82DrPiDY/wsyII5FZUOT5G2PNDgUhRGUEDn6862nFRVIE8dwrr25iVI5BGwf8KSVCmA5DRlQW5xKrSsooA+55C3cTKk8aMzosRxZkbvViS0rA15VmK8DkRjXXQukrLuNuMi3Kvl5XGNe5SCMvnVUHtXjWtltLkVcmeR2ckEcGkLEE5d7B1XHjzfngavpTUHdCyTk7C+oSYRZlEdKEaqwbJQbbNCGFHFK98cqGmvTJWi3LelNHHGUkEiRqWWNQiyylchXpEqO6zytV4qmbhmztuPSoU9mypJrkVXFY/oPHh9s2PqBiEaOOJ56j9PhXjzKm/mZTS4t+WPxR52pKLVRVDwbk7ZDt9z6m8R5hn6gNkLw0sgIEjAnvNOG9i1AcHRu9LCKFSyvhGHDkXUbdvgjjlWpRfnkjwBR1JnjaCS3W1YkjFjS/iU0g7GCA+aFr4PFm7LdwyHdOUKQpCWEauTiz5IkIYqcVJIBIq8BYIvUJWGDTdeQKPqZC2yBkZ5FIwjAWV0Xuyq/JF2OQK9zrIpGMdwsjy5qwqKse4Dz6dLbkgWRwb4JIEHSzI0QCqSgaRmvCs/TpgMgb/Dw4otdlRYvR0MLQzOqUU7mB4A5ziT5+00Hb5uOTfm9M8CJJp2FdH6iTvvTkYMxcDPkWWpTdMGHJBWjd1q09X3wVU4BF3Ry+QGkVvm44eyQL48aofQZfU6mjysopnlLeEGAaayAe1Rjdc1QFaum/iLz/iYsywIpYYm2ZmcscRichi3HBux7HXR6fRepJRic+rqrTi2+CHb7yBlknSGEOGjRioWnckl0y9MYlrHnEGuMTwYBJs1cjBQ3qOnpxyqssZFjgqykg0RVE80wHuUnS4sWBQdwAYC6YLVX9QK4+mhZvhbbMb9Ojd8O45+vDedeg/hur5X/fY4f/R0vD/H+zsdB2n8MqlGJeRO5JSQGrEBo/WLIB8tk0KscDkkbJHftMgdO1UJUxAHuyTKMqW7iRWVlvm+o7fDsQVVIYorZhC7Ylv5jRsnk83fJ+uoofheONSA8hDckMVIujz8v3v+n0sFH8O1fC/kePxHSXDZPtemR+hHGZGAdmtW8vJyQGbBfUClTiDXF8EAa5g+H5Iish3jGRZXMZdUOLgqkiP+JbKQQKSvP1JGotp8O4Mv/wAiZwpBxdrU+ODVErQqiaon66edXVZlK2y3K0hKt3d3lDkpBW1Uih7DSP4drJfp/I8fiGk3+r8CSDpmSzhhC80rOLJwj9PnsURsQFsEglhwa4I1INqZduqYhJY3ctiJcZFkUrI5DoMpTi3y3QYmqJ1Ns9jIiLGZRQVvlQYlryDY/lOXJo0fp4qJtruGhNlGdQFU+wClSinFQQoK/Uk39qM36LVX+DKr1ulzvX8E3xLsJWaOWNIpFJje7wLPaqRID5sqI/via5PPLdHlk3SyM5hGLMpAQk0R2rywaw3d54sVzzztJZ1LGSCJyVGJWRkUPVElBwynk+1cfroqVyVSsmtLdCTiHLC+bN0CaNeODdnU36PU/a/4GXrIfuQm2HTrXCSCUD55CA5PzdguzmxHNZcf00Ft9mUBwj3CU7LbxRX3tipNhZKojmyASKJrTv8AiiYijRNyaCmMMoWzxQGPIo/a/tem/wDErOtq+KqjWXullyJVytKVxIGQ9wV96OoPQkrw19UP1VLhoq0U3orGyIjKvm7IfiyzBTyxUXkbr28ak6/Cu9RBA0duEDxrKva1hmKxyOGKLkR7WQfHnQXVYp9ssa+m6SS2zIw5YBn9MWLsnvIBI96sc6nh6pHAU9WF0kx7sVjCk3xTC7NWTfNjyfGoK4rgdMcz9LgjgjSKbBdvI2UcrKpllq8mZW5bEcUTxx4ABWdD3EwA9NnUyTc8qWkjbM0vaxDjFiQeBjfFkaD6tP6qkKjCNznZJwLd3dRNFqUi/PafpovqvWoY+nbX0dsU3CAEv6dRDEY+oFf5ybDWAQG+b7tHPI++uOx6l/6d/Eke6gcgsJRQKyGzgsaohDUAysFL2Pdzq1yS2e0Iw+t+/wBPl18+fCO33Jgk3EcYdlBKRnIiUO/eQoN4Eqcl8NRrkAj2zpe93fpKZYtuXIu45ziQfFBo7HFe5/XTquCMk+fJ4J8MdVj/AIXfwS0C+BiHIJezERV8ghuQTxZPtpeqGONVMbiNcrfHt9RiATmBTfKFq+DxrNZoXkqv02S7a/XDOwAWN1piwAbFlHyc2S1G/IyvXG224JMqGjt2iYljTv5dyrY/MDyDVBTZPFnNZpmHTVqn8wbpcPqTg0UiRnlNUzBF5x7j7CgSxrzZ0yXbxYeunDqLTEItguO9kFYVTIAoJJVjdVres0rYYpIYdWtdvEko9OVoJZIk7SXhljYLeAJSS40emoFW/mGq3toiyukjC1jXDzQSQmRms1iCvbdG/UUe+s1mmqhYtyZNJL62cjSFnLIRyQwsMMAxFhFA5a/GIA1x1Dd+o/agVAvyqpKgjmRgPC2RZxoUAPbWazQCMOk7DJdyWN+qoRfymR2UbmgaNfIL8JRBPtqP4a3cyLM4iWWBBciOFIxelYgHy2K1+g+us1mj3BeLOpdyajaKFfSgObo5IjYq5EbuxI9Ru70qHP4ZBu9DdY3RO4meIs8bKY/UHi2F9zAYk+f1A1rWa1CqVjPrceDJGsoaMsIczF6bmM4jI4t3x9zCiQ3t4OuOudbwdTFDDtWdSjekArhclNlQPwWIquSaJsnWtZovmhmtqtBvSPhn+HA3O5aAxY2AwZ5MziFBVSMTbEFrYDA8XzoXfTn1lMcZWM0I1JByQOyHF3sOeQbPF37DnNZpHyUS9oX8PdPEE0sk6ZhID6i2i8TMgILf5asEZrHjiq8jVgVV9afEswV1TJjy3pxol/Y0OR9b1ms16Xw/+6vueV65/wBJ/Y6La2XPvrNZr6JHgvgxZiDfuPGuktiB9dZrNOkTbJZF54FDWpP7VrNZpuwq5IJJhXg3ruGTgk3X0vz/ANtZrNTZZPPBz65PHv8AU6kgBIJ+n/n76zWa10ZK2cSxZWCSD7MDzWu9i5jcV8osMAeCpFe/F/rrNZoamnHUg1LwGGpLTmtvkB+L9hGIxMMh/lBpInIX5SsbleV8MyeDWV//AGEijptjKkkjySEIGJIid0D84qz3UeYHnn9ONZrNfHyj7j6mGcEG2mkDRy8MIqVQfGIYtiQtZAljdnmzd6fwfGQEhk9H12nVoiJyGxLNXYVALL3UQQLHH31ms0haqWPBY+mx+ohT+GCSze8bCPbsYVuyGQYRY5GrHhio8k9y/DW6kCeru1/DQIgiZsBGvygNGAHAJPcbP18azWam5OOUWj7nTP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9" name="AutoShape 12" descr="data:image/jpeg;base64,/9j/4AAQSkZJRgABAQAAAQABAAD/2wCEAAkGBhQSEBQUExMWFRUVFRgaGBgXFhoeFxoXGhkbFxoYHxgcHDIeGBkjGxgeHy8gIycpLSwvGB8yNjIqNiYtLCoBCQoKDgwOGg8PGi8kHyUsKSwpLCwsLCwqLCwsLCwsLCwsLCwsLCwsLCwsLCwpLCwsLCwsLCwsLCwpLCwsLCwsLP/AABEIAKgBLAMBIgACEQEDEQH/xAAcAAACAgMBAQAAAAAAAAAAAAAEBQMGAAECBwj/xAA/EAACAgEDAwIEBAQCCQUAAwABAgMREgAEIQUiMRNBBjJRYSNCcZEUUoGhFTNTYnKCscHR4fAHFiRD8WNzsv/EABoBAAMBAQEBAAAAAAAAAAAAAAECAwAEBQb/xAAuEQACAgEDAwIFAwUBAAAAAAAAAQIRIQMSMRNBUQQiBWFxgaEyUpEjM0LR8BX/2gAMAwEAAhEDEQA/APTxreuc9Znrus4aOtZrnPWZa1mo6rWVrnPWZ61mo6rWtc56zPRsO03WsrXOetepzrWaiUPrPU1HnrRbQwNklz1sHUGesz0KDZNnrRbUOes9TQoNkutYjUfqa0W1sgJeNby1EG1megwo7L6jMut3pZ1WckBEJzLDwa8FbF/odBtIKyHPJqJn1R91NKvP8S/kihI1+/t9ARWmfw91tR6gll/MAob2AHPtwP10LHofTtxpN1hzhXNZD3seL40x3O/DBSrAg3z7HVf6vugPOI5Py37Cufprn1E2ysHRB0Nb3Uf2yb9lP/XV19Q6qnw3F3LKObLJ4aqADEilNmlPF39tN95upAeMlGfP4RrEFwRkTwDh83nuGjCaiqZpR3O0NQ51mWqTvuvTKHCyOCIyQQmQyJEakn2pmBr3rXW867KudO5xikY0gY9qkjz47q/U0NP1UL02XO9Zqi7rdM7wh2LEfNwT2imfgEAcA8nx7aBhndUgYM4lcKAQHbkj2iLVxfg+NbqA6bPRDz9TqTbpftz7cf8ALVFl+I5gjuJWoyOF7fy5lV7a54H9ddp8R7iPNjKwKIgsoF7sAzHEggctX9NHqYB0y8bi1UsylQOSxHsOdJx1qBiAJFJJqvezqsr8S7icKsk5dWSRmX0wnaWEaDwLFpJz75fTS/a7weUK36qKhCE0Rk7HPwTin9Mh9tCOpRpadnoQW/GuaHvf7aru038rSKuZq+eB48/TToufrq6lZFxoUjrMv87fudZ/jEv87fvoQqv1P7f99Zx/4dWs5NzC/wDFpf52/fWv8Wl/nb9zobiuP+f/AE10v/nGsbcyf/Fpf9I37nWz1OX/AEjfudCmRR7/APDWerfgX/XWBuYT/icv+kb9zrP8Sl/nb9zodSx9q116TfXQNuZOOpy/6Rv31v8AxOX/AEjfvqD0T9dbCH/81jbmFL1J/d3/AHB/trn/ABGX/St/5/XUSbNjqZNl9ToWbczX+JS/6Q66/wATk/0jf21MuyX3BOpY9jfhf7aXcg3IGHUpf52/tqVeoyV8zX/TR8XS74ofsf8AkNF/4RiOSv6ENf8A/m9K5odKQqG6lPuf7f8ATU8Jmb83/D/pouRlS+5bAugoJr9DrJurqg7nUeDQHJ8kcKLPANaR6hVRkztNlLV+p/Sv+uu1Wvmka/YAeT9PGg//AHRAcR3MSRQC1ZNFQcyBz/T76HHV2MsiRgPHVEhEUEEmlXnnLIfN4rnybm5t8HRHS/cNttOr+7eavG7P0HP20t/EaV/TicLGSQ7ISS1A0ADybH19h4vRkvWpMBjzcYAPBCkAksFwojIY+/t7aE3PxNIIo4y6lpFAD+qis1i+OKDVXND5hXPhHKy+xIUdW6bIioDChdaIYXkRdnJb5u+fP9tAnee8qqMSOwg/JzlRsEefYef00/XdbgyZCTGRSkOJlyUue7vNAKxQBuKsMCK4Jd7D4fIUJKIzEQ5apHMgcmzUhrsoV/XSbmHakUs9eLRx4JGtKcxTcEWbsLXP09qPOlHWt9k1dpPd8pU+T/qk/wB6Or31b4eSIB4ZsXxJQZVkByeSe+rFj76qm7k3BYmTI/UqiK3HsH9OxRH/AB0N1A22HfD3T/w4lkQglXsGPnFiyj/678SDjKh71oqbftXGQDoS1xuoIIVgLvEG5Tx5NN/KdJl69HGKeOZyBeRxkOYYPTWAw7lWjZrjwBrn+Niz7KGMKqowZDiZD+UnGqjThRY4s9wGlu8jJVgAnGUrGvLwpffQFtM3I7R/lj9xf0I+9fOaSiOFjTkt+eVSeBxeCNR/760z2wsEfiSsSM7FIqJfGIv1GofY+44gi2hTtlWVWMgNNkpIVHAsMBwfUP619tOZk3VpVaR7I7YXA5aspSIBwv8A/b5131GdRLFZ7Yg0h7iP8pTILrzyv6aWbeQh8KIzkiA7jfaS1Ae9uEFasG0+At+8kn4TIGTENJIighpELcAlvkBHIHn9sZindxD09vBdZGND3H3oHn5j58+db3u7B27MpJ9aRmWjZPqOSoF/YgAf0Grts/8A0vdWWSWdc1s3ZCiwRWOIJAvyHF17al3PwPAkSh9zMqqAp/hYyrEWBWRzmr64sOLvTInZTQrRh1c90ccafOG+WMMxPupzZuDXgag6Oe2O3J4kkILggZsIl49uImP+8dXuH4K6TtCCYTZB5llkYEe9jLH+2nW2i2rRlYEiAWl/CRBiV5xscgi/H31qNZ5t1HdyxJmgdfqy5ChX8w8A1rafFe6of/HPIv8AypOR9dWmLqe4V8GCOxDUzHt7Sq8sq9oJewCLpGJ8Xo+DrsxsGACjVidMTwDYyo1zXIHIOqZ7Mk6fYrQQV7frraD6G9No9ov0r+mpl23+rx9a107jzRONqT7H99SfwJ+n76Zkr9f212P00NwBbHsP/K1Muy/8rRwiv8xGpPTUef7/APc6G4NC70K12Nmx8D99MA4Hj+2tGcD/AL624NAqdNPvWpl2QHvrZ3A+v7DWhuSTwvH1P/TQsOCRNsPf/wA+mpPSXXHqhjV1XJUcfUDzzXB/bUsZA0ljGomU8BTwffRMUxU8Af11rbRlrth54oHx/wBdMdp0cH8xqz7f1vStlYxb4AN51JwjNkRSk8ceBf2+n11Xd98VIAxRizGscqAJ4sgfMfNfqPvzY/i7py/w2I/nQtzziDzx7nmxfuBqjHpLKmDyI8lIzY2AqsoJcXf5QBX0x45NRlPODu0tGNXIi3HUZJGBDHLAjj2UAkg15N354HnU0m4yA9OIytHTSIfAUBD2kn2Yn7gHz41xt9iwZC1sFyzVrLKoJS29zYxb2r9edA9b6qPT9NFDEf5jAWKPgAkVwoy/ViB7abS097t8Lkrq6iglGKy+Bu9vI8e277QqWN4pxkTTElT2lQB51Jt+ott1WqHpgBmkNhghAON3QyrgAVR+1J+lbv0FpoFFtTKXtWS6Vr/LICx55uvqNM32LAZmUIj0CrPdLYtMFFg4k3S/YnSyneFwNGGblyWBJi7gzuIs1KNx4s8eeDYy82RXkaA+It3DEsTRiKR45UlpiK5UhEq8rqieOOONB7qHBg24f1UclVMYGRZQxTOMXQAUm65HkeRrvq/RYVRV26uVWNuOW7gitWQ/lZxkPfyfB0kngLirqw7oHWQcJvSFygk93B9P1LaNWNfmxs1yovTodXikhkdnEhvBVCmwWtVIWuQzWQxFfpzrzxNvPFucZSqQnPC5F9MlUVXAdgvulkcAYjzwdPU6Tutqcty6SpKAkeMb130wX8MYggISC3F0L0sXboVpVZdd103bNkWxOBGTOeA2NA2eMq8j78+dRbTpykI6qrKQC3cCwLXlRHvyPFDg6856A8IkMMhLKwUj1PZiMglnzVceaP8ATV66Jto0nQKwB5NBvYX9+RZ8aarQltCL4j6QnLRgurMRiEKspBORNDkXzf0x/XVe3XTJArExlsPygH1PNAVVjm7B+l/S/VfiPZJLEuURmCMJAqsAS6kY8/Xmx7duhN/08SUscBUqxt+0Hniw93Xk/wBRxpZKsjrJ5DuZWdGADq5awe0eLHJvz8v99GtuDKg9WMFlrJ+TkzEAeAcB54HkD60NXLr3wdizEeo/vmqgUPuAbc/UgA6UD4aVwKkWzVUwNEGzYqwKBN1rOUkakKR1ASbpIpNtIgy9NXKtIlMTVA2RZoHjj9ORdfQ28s0SbZdxAWdTnC0ixUp9RkZcgqsfB7SeaOq1telHNXTck+m/ivcc8XxX3+/jTX4Y3A2USoxWZxLI7yF1B7gAFv6AVx/q6MWJK2WqbpMwkdk9Nkw7FYMXLBfDNkKBP2Ogx1TcRtT7L8ygGOQH5uLplFAHzzrW6+PUWPIgJxdZqeAa/Kftx4/XVa6r8ZTfwzzq0Yj8gE2zEyIlYKbQGye7kBW8jnVExKLfu+vRqAJc4siVyZLCnBnuwSAAqk8/TS/dpuVkpFSRSwonKPisibOV8fQeSB9aR/BPxIN5OqyQsPVuiguH8MFqYs1hyCfAqgBr1E6zb7BVd0UaPcTlmB28hxCm0dGQk5DEFipJGPPHuNO4vhrNQzyzIxAJVWUBftQHtpyYV44HB+mqr1j4tmg3EkbCJFBHpl+WdCikvw4oZ5rRH5b99NbaE25YjMwP5v2Ouowfqf3/AO+u02g+p1J6Z9gdXPKo3HCPcgakX0x5cGz9H4/YajG1vz/x1PHtvYDn99axkSwrB25P5v2YHjz7ke49tbk9JOfTXEmhkXs/fyNRQuAa9Mv/AL1f8tE76JJACY1Rqq1bnjxfHOptlVlYOoeowgikBI/1aH6nuPGgNwXkPexq+F9h+wA1NBGFUDk0PNCz9zXF66L631M8qmDLAB7f21jCh513/Fgsy5C1xse4y+X99Y0YJB54v9KPm/2/to2I0RKx/XUsTtfGpodoxIuh3G+DyOaH6+D/AEOiIZFjVhYaRb4vnwXAr2OP20rkkVhoykF7PasR3MaYciz4+p+2hd78WGIyn02kCggYcm0ieZrHAFhQAbqyB71qp/EPxDLnIUfAY4cA5BopmHHI7csrNj8gvuF8R9ZznWdQzYRkypQVSPx0XFiQrGnRTZ4pOdRc7PRhoqKHsfV1LSrMyhHACE85PWJGC8gZKDRqy3Gqxv8AbAOsmK04xLBu4lA0TBlN5JSrV2T47SNID1OJZVaN5W26SgiF4lcoFPcUnkk9UOcWa+AMjxWh9x1hpS04UpGTimTH1aByJIHaoLm/N8WBxpNrb5LRlFYLT8M7YEzSRljLOJFdWshsgXUeT3DwScapq86i6dINwJVJCYSxoKFM7G+wBe7tUk3XGZrxpZ6LwDEgUwHg8AMHBkkH53ZgW8BRwKqxqTpu33ErSKWyzEZDiyplVGcs4uwAGBBHHK8k86Ltu2Uwlxz+CN+mZVzShsVy7i3qfnI8AcAggm/W+miR0thHEyP6kfqiORcLbKQBVPiqBDZck2fA131/4Y3EEIznhYjwkUb5KwQ4qH4NdoX6DLwebTwTNGDHGzAsGaQnub2fxxXK2PJ81lofVFJxiq2yvzhjBOsSRoY3i5YoQceAoNI2dcEEk+3zkX5OmfR+vOIyodGzGbBRYyZWUlSo8UIi3dxbV5pVPT0YKTkVRWNCzi8ZAkb/AFfOKlQODlRuiO9rLE7qjYkAWvLKvFLQxOI7R4rjitK5pEmk78B8vTzv4kaay0Em4Y80DE0ocAYijz2L55H30/2iRwNBtm9IIUPOUvrGY40Q9GPEkntAr9KrSDp3UYlcAxRrCqkExRWrElZArY/5ZBAIY2DyTV6n6pIWYNI8SsncFBQhhHk1lzRRfAzF0L+h0YZW6/sTks0l9y2QfD01IwjVQoqWNmuQMaYEMrY0FNEff7DVe3fTt4cQFMbqMWPaQWCg5AZd0ZPA8HtP1BOT/GssPqHbSoxd8mz7rxiwBX/WIiXiwOH9/MvwR8fHc22+VQzv6alExVQFRwWtr7vU8/Sv11RxQm9qrOOn9N3+3libONkYrmMzlRVQz8ikxYZBRd0eedHx7o7zcSLUsEoRlSVouMVYgMrFaosVOJHP3AOrtuNtHRBFcUD/AGFfeyK1VOh9K/gIu9jIzNEAjOcY1oGUqCaCqWIsV4Ue3Kbc4KKSabfImmnaHcXOyzN6YQrCmKqWOLE/ijvOZqvlBHmtNukRxfg4rIkjumJkIza1f1CwBrwhb/f+ngWfouzO9km/jJYzEQf83sVitt3EH8pUVY8nydQ9c+KfRlRoQrKA5DjEh2urZlGYYAlOasH6WdIlV7mByvgYfE/pbeAGeQRZmlwUEMWNkBOCW9z+hOvK54c5bjlJFcXaknx4uh7f99WCTrn8SdrBk0ywmNRGzqDI6Kq5B2qiSDyTzlqvQdOka5YxG699wMSSUzeuCKxCEe55vjQw+APJYI+noI1tiWAo0gAseADZ/c6FPREYkEsC30Pn9vHJ86D3/VnYG6X/AGCCAAOPH09h9tQ9I6s0YExlBGJAUk52bNkVXHH99LkGCwxbGbaRyRQP6Ydy7c4vdKpAf8opKsUeTR0w+Bet7oNHJJuHeF1ZysickAcAOSAGY40Ca83WlMXxGJIWBW2YKquG8FjjyPJq7ONa5XfPCtxvWC9qnjwOAftwBzxprBSZ630br/8AEyNgn4a5DO1YFlYqQCprmuP0OmkuyRzbIrH6lQT/AH14x0z4xZFSJZ3GCgVdWAPm+/1/rpjuf/ULfIcYsZFr5nxu/fyQf7adaqF2lkRTrpiF8n+mhdl8RPLGrxKqK6gjsphfsfuPGsWE+WOuqzymicbxfZcv1/7aPfqbkARqsX1Nc/0FV+96XgAeK1HHugzOlm0xvg13CwR9R5H9DofUaLaNb53RbQeo+a3ZrtLDM8e+N0PrWpX3IAJ8Ackn2A8knWpGABJPABJ/QcnWlcMvFMGH1sEH/iNYxqfdYLk142Lr2sgWfsLsn6aW9d3xwVUPD3bh1AVQVWTk+4RmPj8uiN1ljHgbT1Aj13ELRQ1Rvtar9xX20N0rpJdcZSykGUEAgq4kAbMEDsIcmrAPHjkaVyLQh3DpOkmRTzTHEZAUaDA0f6X++nKdMUowdqUjGxZ5bt8VzydAdT352sMbUCPWhjZmulRnCsx+vHv7XftqrDrU8kMzQRBwjrgLLd08gmBBschlUCyB3i6qyjkdGnoXyHzT7hY5TGVcxbqoiXoFXhCcjkkLLIbBB8E/TUHTmlUuoYTToWd3LIcCoVAoQlSB6c5b/dFnmtRdOjlj2k8U/YryRIkfBYAiM5JjRYeLAPs3gjQHT94E3jCZgkKqCeQSzSbeNCcBeBpx5+vAvwp11SYftFkaRYSYyFk3GS2rXHKySqxIFEF45VoeAV+41Nuumw7dM2IgEkckHaQDi5APaSo7WGV88XojbfG8EUasE/GCJE9lRkkbNh3FgoJyJAJABaiR5K7fdH/i/UZD6hYGVVZpBaSDJSikFEJwuuO6x7HQajy1kyTbKn1CKSCVl/h2oeFLoRQGRc+ymvr48+DoAdXcl5fSjdTlIVMoDKgUMBRWyMSAKuyrV4Oj9wsksrq1qVFsK/OmBwVUB7balJBAo34vXG8gWR2yXOmxkBAuwo5LDi2YO3B+nFadSN0reCfpOxkzUzGJU4kdvUJHpu1NZw7GUd3PsQfY6ZpvdsriTbGRGVwsIc2tFsG7o7BHpgAZcg2OPGk525uEkWFvsAt+blbGNVrEl2pauybJFASbaaL8FZS4RRHGpyHaMlXL5eALYVzdqdK7aG09unJOQDud80m9BcBzmFoEFGsgAWSBiTQs1X9NN/SC+ukZV2OdJahiloF+WiT3MR7UAOa0qnhj20skkczPJtnZ0VomCu0UmPnwyhuDj99Ptr/6rPNtJVmgHqlGUYFgCxzU8UcSKFcm78jSw05JHV631UNWacPAJ/iMUm4U4EFlUZDIIWMjqvN2qqfAHFA83pLueqNj2k0z/h2gyGLANkxBL2jEAgg2DfNab7DYRNGHMuSh6sIwuvSLAdh7yXontN1wfebZ9MO6MKw4k5YRiRbCssPrHkLweLGRN3fHJ0O+TiK/N1YF5vxWxKgqrKaaTnziK7QBVg3fnjR3SN8Wj9SzmTjS2EFHuQgKeDHjYBPzACrJFzb4J2W0hD7vbszmJmOEsgJdcbQKZAuRJ9uONdSfBKTuDt849qSEApi6MpcyMQ1mmyAsHjEfpp6VUjRk07fAjWOFAuSMQRiWsFWXJCuSNQADSsxa+Bfmq0z6K6lZY5EU2E/GxXIMFMjkgg+a9MccYgcedLd506dGo16eMiqO0jtYQIWNUmagNdcWASC2m3UumJHtTLHTeiuGamRVLg3eD2ZKNuWBtjzQA0sU+Cs3GsZHvwt1YOJBJK1wenSuxA4SOQ815BKobHmMn3J0l631R0SMNIw3A255BZ6xaR3a8QMHCgZGuCboA6D2MsX4PcI1jnWR3JUjEUkUbOxBWMBODYs2fc6L6z0KVix4CCFRnlG2WaIHk/8A5CAhYfdv66z4onyyq7naGS4lQBpvT5DCyy2oUm/Jri+fb31AkjplEtPk/hCwINefHsLF8Hz9tWmHaFuobSJz6bTGRo1QFXjj9OULYPK2ic/cEe2g22rKQ6PEyhmZh5dI8QaFLQLWzMTbfKCOdIos21CjZdPUZSq3KNZWqxAkeiT+a8bGPi+dHRbVGWMqXJl8L8pXH8M5kfdCPHkH66j6RvjHCzo8YWRochJ8+JYOVC0aQmyTx+hvTPf9WikneTcOkMjoCgZ6C2BVUBlS+3Fk6bamgJ1yJtz0VQ+WLBak5BDHJVJAoXQ+Uk14NDm6StgxBCYHFQ1tkPUru4Hy2bNNzyPGnu3M00jpEnrDkMQoZSCMvJ4YnzV2a8EaGUyRMXl283IKC4S0Q59saxNjmvp+wg8ZRpU+CpQ9SIla3IX2H3J+/ihr0Dp8oGwkidFZpSjBjIRQA4BFUTTH3I7h9NVH/wBoktykZB9/UcH9KP8A1026rIR3t2UVFA5DiiTZN3QBrxwBrTkuYiJMhfYytkyJGyJ5F2QKFCuP/PbXWy2HU5wz7fZsY8iAQkZFjg0ZBZH6Ei7970J0lX9WUqWIe6LEg0fHvxxr2D4f6nHBtoo1kelUfQ19R41ya+u9FWo2V0nK/a6NQQBRSih9tc73demmdFgGXKvIUkKW/wB28j9gda6XI/op6wqXEZ1RGQ8kH6e/jRLNftr1rPF7mWNRk91+5Fft/wDupEgvzoiPaj2s/wDD9tKFIWbsuXjTEtHKWSQgWEtGZSa/KcSv6sv1002HRvTRVzJCqFFkk0BQsnm69yb0SNuv0Gku628pn3aAyAPt0eJsSYwxLK6eMbOK8E8Bj4uyC8YqsnUfQD6LWfxfUjLMPMgidVV7AAzaJQW482PAFWKRo0jaQmlUFjwfAFnirJr2A1WJN8Y22UskqLhC38SGfHj0siQnuSyXj7BSR41V+ufHDPI0sJlSCTbKzWFrFlHgWGDh3C2GI5aufCnVGLYy+Netod2kaXxE6A5j0z6iKUYAeTmyfMPC2OL0n+DviFFkWJw0pzPqYl1yxvFaJCZAgAZEGkJu24T9Xm9ZtqfT9IvtWQAsFcTJlHFkZAClMqFSWr2Hitbn6NI8O5waNDDIHY5sZCuHpSsGUlsFZSW8iyTdVal6pUGbrrrb2KYsoilR45qYFhUivEqKx/IAUJJyBZbx5ICHedRkWZg7ktjeQILepTFOCKK5gMaAsi7vnUhT0jMzELUDiP1Q47ezFY6Fepmh+QkVldUdddZRo5FvuCfNkSRLEFr1fxK8hfHHlqsFSRT3WuBk0o/Mzbz1HIwjtlVc1VWR1LteAAr8MuxITg8VZ1YOn/EboSVeRSpCo4BNxmTJqWrdQ1D/AHQKpq1UJdw4zU4liM3BQePw3plbsKqysQKK8tiFB5Z9PkJDSPkWwc3HRN4t6eZemkfIljbse7trwC8BXuwWDrPSz/Hum22ob1GJZ1rLFir5AepWGZyPtf01L8L/AA+snqmWRgYPRzCkBs8EtjSmzbNyTZKkke+q6vW5YgQrGP0oiqqDUoDDJFIFAMvoqSVskHg2ObbD1fdepP8Aw6tNCLLUCxkIABKNd3jkL92APubMavIs/asB3XtjAJlhykWX0gy4oXdTK6xZX8qq2A8/Q+5APkvU5n9QKiyFVN0DTWhAJy57sqN+3HA516b8X9PlZ4p1FsFGaLVn0Czx2GUH5mDFfluMc3zqqfF3w9LuI7hVXG3GUvdyWkPzKoNdqim4BpAea4MX2FnwmKJeiuV9T8QXC7HvuR2CNK134BKmx54PGhtk3B9RJBkKIWrC2AGGRrI4P5+/sdQs+7iQxpNlEwaMsh/DoqS4tlDBcWJJqq9+Nc9I+JHhVYmClAaBxBZRbMKNiwGkc8/zn24074JxlUrGPTN086MqcHKBVDX6ad5BZ2IpVOCWzWTVEnwbF8N/EkcE0Qdcyh9QyKWpWZBC0oWPiUsGK4jwEFZG9Vb4f6gzMIZZWSIuC6gnE4AlSQBbKDdj73550w6P1l52ZSMUaNsmIY0a7Bjl3U35j8wNHk8o1WSikpYZ7Xvkg3xUeorNt5gOLwMnBMZPIY9oteSOLA0D0zrboJLhDom5SIPTMXZ2HeAOKOZxcCj22RyR5p03dBZ7iZizOxshAnrrI8tCzQDAIC8bCgvuLOitv8Qgu5bAhJ/VUSAAGcJ8pPCRuokrkVYNCxwg+3sy8ybs/wAdCcysSybhGOR5czLuMaAo8Ko8jHE/prnqI28kqQo7VMrSsJCTSxth2gg9xYEUK4LEcAjVTj3AZMXixkO3LmRhciupjODWAz4DgVxcrXRFnmHf97bpQ0W4jkqKgCJAMm9Jq4h7COOB+JRBsHTKnyJtayh3/wCnkG2bayvuWS5JJSVJqMRx/hkUTTiwxyq6Kg+Bq/8ATo4/4YCB8kC9pBLUCMgODY4I4sHnXms3WjJstjCXSJZUHqNlGHMzcucSKHcxoe5YkihqxfC8kxhlWKmhfPBmKmgYkSIqq45IMKIyWyW54Fo6WQ7Wyv8Aw503cPM27khIsSCIvMQ+BXLMee3uKnwafi71Inw4rg1IYpppWjWMsuILLnI6j8i/mx4N+RZ1YW+G551haaOFJAHWQWGRFLGii4m3KKoyJtQ8lHnS3qHRpEG32rwxS7eFo7L2fWW7d3HPNjIgAksa8aW48Io3KTtiLc/BaySkLNDHIqk/w54d8LS1Jk7eFs9oAsDjSjqm1WSWRD8ykdp+pNcMPp4u64OrbL13c7qKPe9Pizji3EpxoKX/AA2jFlmAESg0eLtAa1fJkh3O19aVBXpljwMlxBsBhdEG/BrTtWQPGJNq0FvG4j9PuFOMhgMSavuNg+x4OrB0vf7ncuI19KVQKYOny2Ls0PPvq19K+HpYURpVWRCciMjSZ9xLLib5PLDwNFQ/DEaGOYIcgxPabA5Iv61Q8eNLWDWU5Pg3cAlWRHW/mBpq/Q/8NI5unIGCgkOxVxmeCoAKsB7CqHj7eeNeo9S2ySxyCJ2DtS9rV5IBPJo0CTQ+/vrzv462bOzvH2x2YgxvjABvp4yFUDyV+ulkqyg3YQ3w6VQOSoJFgCgCPY3oKuBbYmjwWA8Ej6/bQnRdg27VL9VSkeC3mvcS1sGUUQt/Kf5vfU8G43aAqXmSiaUJlQ9ucPNckfUnWjHuxWy7xrfvotEGounSRyIrobUj+o+xBFqw9wRY0eq66jzVExFH01J48D9tYkZPgaG6l1yLbNGJQfxA2JAGNgEhTzdsQFAANlgPOg2WhCwnpm4WeMSRsCrfuCPII9iPcaS/FnxG+xlyOPpeiS1qeHshDfgFmsAEc4HXnI61uWimEUvpIkonC5qApkJVKYfmWSMkjJQbJxrgMOufHj7mLcwsuJkYekUCkqpssr3w3KHkEkgiglHSnStOngtE/WP4np0e4OIV45Y5RJ2lpPSeMqAKY5M1nBhwOPrqizdMUtIFiEeGA5kyRVLUTZI9SlQ8fa/5dG9N6IN9t9r6EhCQrHFuVBTlpHhSQhhIXBJjDC1AJFjydKd06ruwuBxIdVBIEhAciNyrAYhuSMi3aSe0aDLQRN6yLDYhI9QzANgDX4kRjay1FrhIvK1s91+ROnTOF3Kq8io0SgyKeQGdXUSW2TENaUvnNya51Pu0YbHb4yBkZ3skxri4YkgizZBfiifJ4B4A/Stm8hkVZACkLOyNGzKcGph6a+eVUlqsWPvrZHwa3ziRIrxB7VHy+ljGQoUHEEAZMSfb1D55Jmh6wyblBgSPrO7KqH0wgQuoPaCCABfmuSSddb/ZlEeLBFKOrj0x/wDWUX1BRkoMAhBFZEp48krpRuSZJJldY7OQU1wiswvPIg4qAAR+UD20Ld2Ua0nBJWpd+KGcMBuOb0w0MilSWVm+VSuWR7+aRgQRfF8HRHSd2rko4haQoo9TJUIPqWxvlWtBeSjgWeRyLFtN/tNntA0SYyTQxsAJlZw8q0rhOUDUoIGJXtFAmxrXWPjliZikZWMxhS2N26uyOoeNWxVlFgMwu1o8nWrIq1JOKTK4+3e3AjIU5r+ICqlkGPyADGigWyD4I8HXEXUkjhkWeCyNr2DAtiGkxtQw7ARl8vA4Nn2Ih2bJJt4payWX/MDLIBFIFoBWUqQFZsiR7P4+YiT7g+pMIZGZs5IhaKHkxYAH1CpByLIbsGgSTXI1UC2y7xdflXa9NRVBEtK2WOLKyFUUkng2yrR5sE1xRqm46cYS6cySyAxkyEMsbqWjdlQjFgzE2GuwSOL0p6VuiYDODNEqPCqkG+/H8QBjygMbDEe4I57dEx/FEczi/VzVTleI7r7iWY8sSf11rafA+np6coyt57X9RH1xGiB26kGOw+Vd5JjVD3Xyhx8H/mdL5OhN6ayIcuxnIPBAUgUP5idWLqO6gaQfhu7VQCyKW4HjEG7r20u6h1BcYgiSQ40y+orU4ZxRBAsVywI84kea0252sA6WlGErkm6xV+V8kuLAtpHJECSKc5RkG/VAIXjHyAbC/XytVemLdAwPe5VaKnBTJnJTMyKIzynbRs/cjyAX0dY0/ElUM0cX8QCpag9s8YYmmoKihV7gTKCb1F0vp4EDZFzKpe4ngLRECPOjIBauwDdysCo/2jqsIbld0c+EGxQrMaLvG0W3iLESIrM8liRaoYIGIWj47vOeuoNs38SYM09ISJeKogWjkKo1ZwNsxqr5Hvrp27XcFHKj1I7YMWelDEooruMpsHlQrEvyTiDqPcbKNymRRoI4EEg4zVmV5FDMnEpLqWsZCl8CzqL9rpleVyMZdxGjHECVg57ZEqFcFDsOSAjdqmyT4JBGdaD2O8YRRembCxZhhEvJ5dlAFFwrOIihIBxY15szb9Qgk3ZfKPCI+XQoZC4K0UN2gVSCCK5UWND9I6QZ0Kx3NI7I0K2vyCXkEo1KQgZitH5iaOlk03gdXQz6ZvWEjMXVUVAqHEFnjlaNsB8wUM4KWWIpwFC0tMPhn4wO23EUcuCxSs4BXhc2Kngex9RmLCq7gQfYC73fGANGkapHSeoHGYtXZ40IZqEkbVz3Z2ee3gT4T3PpujzK7LKBEHW0LNMqMFLMe6OwCGFLbiguR0jTayG0uD29Tf8AYgiufeiD7f359tB9agDRE/mUWv8AtAeP0OlvRPiSKRJDkqrG+J7gQpoHEtVZDIce11qbdbwSA04FqwFYkgkcEWcSb55se2p221HgXbWRbsN3hE0ccaLlkz+QCSS7kAA93k+9k6S/CG+jR5toJA8BkZX/ABgXLnAuFFBsBVcAeTdtZ1ZUgUng0R4Ni7B4PbwOKPtzfA086ZMDwwXP60Lb78Dzqrl7tpNxxaCqBOPfX2JH9wb0snWHblmkZQCPB5ckHkgDmrr7abhDndflofuSf34/bUG92UUwHqKHC8j6j9ua48e9aoiB53u4USb+I2O6RQKMkchJbAfNQbuurq/H1rjSqPqLSQ7aJlWMHcqWOTAvTF2yIII+bz9SPNVq3dS9TcsySQhFmlSONDRkMYKtMxYNS2ikYjwRySTQq3UPh/19zOEIRIbxGTcsfmGd3+554GjJJDcD2FUBZlZ+LBjDHG+OQPJ/XzqbbzKgqpASbORBN0BfcCa4+uqj09WglH8RFGVJ4RlJk+xF8f1P769A2nW45EDKhrx3LRH2o+36caigsrnwbs5NrB6e5xzytcPBUi6P+sCSL9wE+lCyv1CJGRXaNDJeORonEW1Enkgc1rieIBHJOChGJayMRjy3H0HPGvIOtDdTGGCamm9NaEgPcU9R7YjtAeInigzBUu2GWrWQjHdlnpnwj1d2aTbbl19eOR1UWgkZAA3KrwWCspLAKCGHHk6i+Ofh4b7bB4GDSxMyoyEGiWCv491dBx5FEfpR4opW3G1DuwmQKFkIdZGjCEohSvqmHqVmQwJvGw56Z1CeCPqZBeM5LJDI6ktIxObFldflAGLGr/ENHhdLyX2UxV8H9CbdQOE7GBMcgMalSRTK6vVKeczYU2f3g690k7GSNfSrOgpD5CTCu/EilOUl3xWRBFeWew6h/wDMEm1SWCHdgdkbQ90lDuGRaNCS4v3o+xGrf8Z7JDshJPHCDEysBNJcYs4kMa7zR4XmyBoNsssStnnPRJ22zJJIrdkzJIWLUVEazKuApSp4+Y33EixxpR1rrLjf/wARtPSsMPTK92NY2imgrLk5UVVhq8jje9ZhFCaCh1fAIgvjH1Bxxw6VweKAF0dQwSAieSO2WMxu4NgW6uj1VEKSQf8Ac5JuzXSklLLF1I2rRZf/AH9DMjmXaNK6jwcSqSc0SxFiiL8A8aQbbbGOgsoWV4+1ispkkWYiPFirCjZ8gHnKzxRabtpd105ZmjJxxUSKVdTjaySvGyAqw9Pgo3/2fbVegQYP6gyURlaq6YKQOQT3gOwUnhCycEeNPzd/ahk49o15yG9Mkl3249MLk5QKcvTUIEVwfPlu5TyC5IaiPIY/D00kdpJ2w7gyRzJKwC3iaYsB2kspQPXcGA5oaS7TeTYtEQY45Emb0+LsrmXf8xNIFDMPrQBGmMe2PpxMxyDZDLtyzZ3aig5x7gB+w540q1OllK7waEY60+m3WLRv4hatwY4wewCNFjjcsqwMwVASC1jIAvVMReXnQTThMY42uNlaYhAAkcmDSAhSuXEUSNiWpiL50b0/qypT2qtKcBI4yIAIckH5s8VoEc2eOaGgmWVxB6MiqXTEqeIwYyUNccqAxYkmwD9uZrU6mao6NX0/Rltu+CXpPWZpAWUGhIGEhZiVkxVFHqVR5NhOOGa7A0d02MSTxxjsjENn8qo07j12Wl+XE2Aa+QAeToKXaEqVVZvSaRmmLtGLKA2+EfFE8fmHA96Ot7Do77gSCeT0pVaKJlkZKlICVbGQPl4PGVVQ9gHOd+CTYbgAwhS3pybhm+aQ20bB4xjHLiHRQBnQ+axeJpluOrvvPTjhUeskoRHdIhA4ckAP+Fziii+R70DYGlGxiYNGHchY2ZfwzgSHvLvC/Me6uD4486m2O0yaSOGMlwySxrZ4UBLYUQGYAtQN3R+oBXcrBXYN33Xpdn1Hcpt5FitlNRpG6onzCiynBAW8AAgVxwNJOt9Xn3UUrbm5ZY8ULYItXkS+IUE0FGNVxISfbVp2QU7ZZJXXlHd+xBJ+EBEM2r5RjZ9yQBdAgon2iTAO1hxMY5Fyq4wFkaiF7QxLCyGINe1AM5WwUksgvUemyRbYxtzLKNrDTkKY8F9Vh/LiAIxZJqybHI0rXdusKGGNkANsA34bkRC3NENZBLWKxyI1aN1vEidJYzGDA00wEsh4Mjmo0BFMDQJ9z9rJMXoXDHuJAAWdSFE/nJbUhEy7ivBDRilAFAAHRWpSrkZaSk8OgNyPXphLTkYshfwGQBqFgByvcaJBfkDxqTZNkc41xKRusORRYS4CsxK13O6S9vPdlyQAaI3WzcyMqp6iSqfUIIWJm9SSaNcwSA1xs5rzQXjUXUFhl2+3jhiWP1WlEchY5mSywJJAbFnYIvH1JHA0n0Gkq5AN7B+AoTFTIkSMfUpywzUtwQMTfOYPBADDnTCXdbhDEBGyXAYoVW8ikg9QOsii7dVL2eFsk1ydQdX63EHbJpFxUIuC42uJBTFlFgNZz8kSt9gOoIWO0k3FlfxlXbvkFQ2zK7EHiNAPF0MjQ8UTVIXdk3t+oBIWamUtt0Xljkxp4jNyCoLFyo59ru+NCSy5Sxicfw4lQJKQrHONVC5FeGQAooryLJsg8u5tiU2areZdIzEqD55ecXZwcmGZL+StmgdLv8UkdJ4z2MZIliydmQuJD6jmRgclGPuaA4o+SYuOb5DJSxXBGxdFn9aRwkR9IxjFsmyDRgUbZVWJO4qvIIu7Gpd/t44IY5Wj9SOTxIAo57rXAtlxg1miPvzrhoPUaQr5WLl4kEls5CAoQQzW5JL1kC58itQy9HMbQwg+pkiyO8RMhHBYKAEtfF1RJsXYFaCnQHDwBbXfpGcpVyUk0F80eQPmHjgWPOnXwt8RGLfJOqtguRCP9CMCPqCVLc88/bQP+FiRWlET4RyBBWbFLBP3YgUASf5hyNDDaqsyotBucqa8SF4BvwwyYEexBGi2qErsfTfS+px7mJZYmtT+4Pup+hGtwbZyX9QKcnJqie0cKLNflHivJOvAOm7t0fFZCtWD3NjbDHKgw5A5B/1R9NWzp3V23G7jdJHwSWFMbfxHgGsH5rALE1zzpHKuxuna5PTetQRLE0rop9FCUscKcaFfT2Gqr/hDxbGN82QumbkBSyO/cO1gQVNhGxrwD9dC9Z6285lh9LON5UW4wWkQEnJHA5BwFiv5T9Rdln6ltZUKt6qjxRTcJ54o9oNf20yyJOLhhlO3W68pKoDWCGUDG65u2Wr48H3++tRb7dRdqKuPse7kfXtPP66F+INzHFKsSMZUdQFc9pX7MaAJHjI/8tKTunHasppePav6GjY0lO6oB62rfcD299Vv4w6RCu3l3IVRJFHkhZmC5qxZBQ5ouxFDzlXvqly/EsW96Z6M83pbiJ0aJ/z5R9wZO4U2Ni7FEjVm+GviGDf7dtqWlDlCozI9RggAZ1mW1fyPPdyby86q1QsY9ysdQ6usmyj3DyF5nkaKY3RijUhqUoiubV14BJqV696sfxHvS/Snkf09wTGhT+HZlYIzYCUA3mVZgcSKJBBPnVN658NS7OHbKMXfbOZixjYM4Vg2fki1sRkeWAjv5BpEerzxqgil5x4jXFs3ZgPS9JfJBkN3fdmfmAGlLUmsYCtruXh2wdTLFJHuWbMoCpBUFWxdLEhMagNdc0QfOt734rn3SIHkeQlmjVOxh+IAotQoDseApNVya50u2CMVnjd7jaONnf1e0MrkgOWZQ95UQtmyAKJNcSdQIjk8oQzeVAUOSoBx8tIoGRZicS9+eW3yH4yND1hfTjSRRGVUoFAdmWaR5iWsyHO1KFgSaZiKXSnZloVnjdqXCwCynmw5agTZxSiRda52chZHU9tIG8HJgXTEkgc4kLRAF2ODqCWMRt+I62B8rEEsbalJDWoIC9x/n+lnW5wZvaO9vstxtw7ruhijBVgWSRlZ5EyCYJxkAWYkCrQ8g6wo7ONuu1EjHcSn1ZAyI8zWKrOqqqtsr8UTRAbpJ9XEhvQLkhowzAxqrFscmGQal5L2tHxfMkm43MqxL6zn1y0qxBSB6iWbDUAFGPzZEjEE8c6eDi1kzUrwPdj8HbhZA8sbYwIy9jI2ScoLUG/lJY/ZEAo+COpbRBIMExjIYYh8TCgkYWqlgRK5VlBsUFckkXpDD8V70EbV3c5Ni0ciq11+VieWQ+9tiQbNjQe4Mn4biIDGNV8XgFpmHaAaxYWPNNR50jafH5K1tfKb+RPLB686TFmb8UOAFohVVZJZZFWwi8pZVgRZON8Drd74Q+lFgWEEryAKoJSK8vJskG7YeL4J41NN0aXaSiJzHOkzgFQfxWQnGN8Caj7gD818LdUNCpHgscqxZwh5jlRyCjyshUWB4IDL7L48aFrsIrvOL8h2x2KSQTMv4ipKFU5CsVKyKqu1sGtnFsoVru78a2W5SKYhkctRkjGZUhzTQoyk2QlkEAg8tZPFD7Hp7vFxGkULqGEhoqzB2Z29RawVIlZcG8ZDwXGoOp7ZiJWZRapHJzioxkJKlRnTiqrHPx71esZulQVudqZNqkyEByzh1BW7XHtrhsx3GqquebLMJC8iGMo2MhXgliCB5yBAsEEMOL8gjRGz6o0W1FMGzlXI/KeY42rEMMyptcyGPBqhrIJ5hdyRoCWbmQfhRqSGYBbLp2hQTzkKI5s7bbyQynf4CY0eaKaSFpMckXvpiCR6khwX5QPUuhfggk+REJZYUijxJdS18HhixHN/7N83/TU3TJsCyZMLtgzks2ZVVLMoouQqmhxybF0LkChWZQrOWbtZO3mw2KyZZOVoeAFNe/nSWUqL7le3cLNI6+mWSwrM+V5oVEndfa2d/fu8V5d9W+ImklhEyMACS6JxiFHZgQvaqgquQ/Knn31Bvowq/hoGFBhGcmc5cBji/P8AtUSfrS0IP49TFSRnInJMGXIUlYkA2UkZ7K/rwKvVFkEXtuh3LupPxaiYYhDBeIwT0mRcUUlR2uSfqMC3NAqthvGbbGF8o2EqqXYglWkdmaw7KYipTJiLsE3Xza1tRMUjY3x7R3m7u/pvkvBaUNFdN5yBJ45yLpon3EvrPUKSepJlIBwQUBAUm3yUIWBPze2lwWW5q0dbgJBuzCIWklkDQ1atfqMBG8Ttfzg1X0f5jfDTqnR3hhhhnLxOEaT08R6eFsSoKg5PkVBp/BXtHDaVLvktZIY48omKxBo48WLSO6B4+RGUJZVYkEkjk1Wo99FLDnBm7kJyULvGWlcR1nXiolAb3oAVp6TJNtS7BA6oxDSSiV5YyrTFi+ca5dig1+GSOARiO43yNHdRd/Q3BQZmWnD+mFAZGQlRgSyquYKgHzbEnMDSr+GEMe6UoBI0vpFslXCIx3woLKYwVIPPPbZB8HEesXgeSPawWhxdlJZlxCYkgyFnCgF2NAAWSBjpaVjqToI226RVeVAxm3Kyqn4vfgiovAo1KJQVBagVJ88g66LDMduZAEkLsEcFvliUYJEMTiHBLDv9ifPsH1/p8yiIDamMq0ah2ezkVyUEAlUvhrSxRQGtEbbpMke5l24LkGYHllpiQDZINg5V9Rx+p0G8GwshvQ+jzIZmdWVkkJjGB9OyrKe2OzQlKsKIBw9stcdM7dxLNvIFmMmd+IwJKVlIYkUmClKsnleDzY0u5dtwUujwoOR4I9mNVRo+9EVwfGtP1VzKec1UgICQeSSKx5BvJua8AXqe51wS5yWLbdM20uxsi5ZVOLqlViBHI5KjFQGPCWcsTWV8GfAsmz2m1IaCU7ko8pDRysoUlggEigqiEALkaP1rVe6d0x5dvLEajEKN6ZIyLS5CUluCVBBKkKfN2CfLfY9WWOJF3cjrlC0XYbUGalNohIIA58Gslrw2mTxRXbi+5L8Kdei29fh+u0XqEPGRkECBRmWrEhB3fN49rrXqHw/1htzF6hheKzwH4JFC/PNhuKIFVrwfcbNTPJu0iKwLuDgoZUiaJXkhAjwBYmgbAI+U88jXo/wx8RxQbYgTbg+ngrRywtcRLBMQS2PDHxkWo82dUS7EZ+73Fz6xskkWmiEn6mjV+QfY++vOupdKi9V+2OTuIB9QqQB24kChfF/73nXprspJU/MBZH2Ni/64n9tVXrOy2iy1Lt0LUO4tCMvvTSK3m+SPIOiSR4MFIsqHCigSfIv7gUPBoeRXvWj9t8SttZ1mgxQqGIS+ACAPT7vmDHnj3JPGod9vFlQTGHEs7kCOZFjBUDJjFgWUG7ALi744GlrgSLYP6H/iDXNEfT66PJTc48HoXxP8aQbzp8C8zP6mLZCSL8YAY1TUeGYiy3yi6JB0kbr5VoY3CF9uJQk0ULM0fcFWQ18xuOgQFPPd918kjKtUpR5FkVY7HabRXWOjgO9qUjI2SQaB0qXdvllmbyVkYuMUbIvZJ4u7NHm+a50uClYJd1EzlWCMCUUKSxESswJlJJsUBldMAMWJ8Ea0kKOm2FpiqyWFR2IKuSZXAFtnWI8UAAaAvRjbkOmMsglp7R5GtVC2XkZRbMXNWCCTiSCb1x0d1dhjElorFlAILkuZAkar3M1DAZE/MOKAo8mqgjZbXFHWZvRLYBMyoYD1M1DQ8MgbBBmRiASb7joHdRRRuwKKrOe8yBmCqwHKqnPcCSLo8g8cEHKjs0800fC0DFI3LSp6eTfQjgsw8AuF8eB5ZMpWAVGtpFRqpWSTIZKuOUhUENlfAVQANI0FpMY7uZJPUj24/DZhkjKVhXHErIbjDBiqUQS3nk0L1N1jf7fcPFBstv2Ia/GYgEBLJJLkYFQ1NxzXHjSibbJHeLBgSy5Mvc6+CVyFRoGAa2I7X82DrPiDY/wsyII5FZUOT5G2PNDgUhRGUEDn6862nFRVIE8dwrr25iVI5BGwf8KSVCmA5DRlQW5xKrSsooA+55C3cTKk8aMzosRxZkbvViS0rA15VmK8DkRjXXQukrLuNuMi3Kvl5XGNe5SCMvnVUHtXjWtltLkVcmeR2ckEcGkLEE5d7B1XHjzfngavpTUHdCyTk7C+oSYRZlEdKEaqwbJQbbNCGFHFK98cqGmvTJWi3LelNHHGUkEiRqWWNQiyylchXpEqO6zytV4qmbhmztuPSoU9mypJrkVXFY/oPHh9s2PqBiEaOOJ56j9PhXjzKm/mZTS4t+WPxR52pKLVRVDwbk7ZDt9z6m8R5hn6gNkLw0sgIEjAnvNOG9i1AcHRu9LCKFSyvhGHDkXUbdvgjjlWpRfnkjwBR1JnjaCS3W1YkjFjS/iU0g7GCA+aFr4PFm7LdwyHdOUKQpCWEauTiz5IkIYqcVJIBIq8BYIvUJWGDTdeQKPqZC2yBkZ5FIwjAWV0Xuyq/JF2OQK9zrIpGMdwsjy5qwqKse4Dz6dLbkgWRwb4JIEHSzI0QCqSgaRmvCs/TpgMgb/Dw4otdlRYvR0MLQzOqUU7mB4A5ziT5+00Hb5uOTfm9M8CJJp2FdH6iTvvTkYMxcDPkWWpTdMGHJBWjd1q09X3wVU4BF3Ry+QGkVvm44eyQL48aofQZfU6mjysopnlLeEGAaayAe1Rjdc1QFaum/iLz/iYsywIpYYm2ZmcscRichi3HBux7HXR6fRepJRic+rqrTi2+CHb7yBlknSGEOGjRioWnckl0y9MYlrHnEGuMTwYBJs1cjBQ3qOnpxyqssZFjgqykg0RVE80wHuUnS4sWBQdwAYC6YLVX9QK4+mhZvhbbMb9Ojd8O45+vDedeg/hur5X/fY4f/R0vD/H+zsdB2n8MqlGJeRO5JSQGrEBo/WLIB8tk0KscDkkbJHftMgdO1UJUxAHuyTKMqW7iRWVlvm+o7fDsQVVIYorZhC7Ylv5jRsnk83fJ+uoofheONSA8hDckMVIujz8v3v+n0sFH8O1fC/kePxHSXDZPtemR+hHGZGAdmtW8vJyQGbBfUClTiDXF8EAa5g+H5Iish3jGRZXMZdUOLgqkiP+JbKQQKSvP1JGotp8O4Mv/wAiZwpBxdrU+ODVErQqiaon66edXVZlK2y3K0hKt3d3lDkpBW1Uih7DSP4drJfp/I8fiGk3+r8CSDpmSzhhC80rOLJwj9PnsURsQFsEglhwa4I1INqZduqYhJY3ctiJcZFkUrI5DoMpTi3y3QYmqJ1Ns9jIiLGZRQVvlQYlryDY/lOXJo0fp4qJtruGhNlGdQFU+wClSinFQQoK/Uk39qM36LVX+DKr1ulzvX8E3xLsJWaOWNIpFJje7wLPaqRID5sqI/via5PPLdHlk3SyM5hGLMpAQk0R2rywaw3d54sVzzztJZ1LGSCJyVGJWRkUPVElBwynk+1cfroqVyVSsmtLdCTiHLC+bN0CaNeODdnU36PU/a/4GXrIfuQm2HTrXCSCUD55CA5PzdguzmxHNZcf00Ft9mUBwj3CU7LbxRX3tipNhZKojmyASKJrTv8AiiYijRNyaCmMMoWzxQGPIo/a/tem/wDErOtq+KqjWXullyJVytKVxIGQ9wV96OoPQkrw19UP1VLhoq0U3orGyIjKvm7IfiyzBTyxUXkbr28ak6/Cu9RBA0duEDxrKva1hmKxyOGKLkR7WQfHnQXVYp9ssa+m6SS2zIw5YBn9MWLsnvIBI96sc6nh6pHAU9WF0kx7sVjCk3xTC7NWTfNjyfGoK4rgdMcz9LgjgjSKbBdvI2UcrKpllq8mZW5bEcUTxx4ABWdD3EwA9NnUyTc8qWkjbM0vaxDjFiQeBjfFkaD6tP6qkKjCNznZJwLd3dRNFqUi/PafpovqvWoY+nbX0dsU3CAEv6dRDEY+oFf5ybDWAQG+b7tHPI++uOx6l/6d/Eke6gcgsJRQKyGzgsaohDUAysFL2Pdzq1yS2e0Iw+t+/wBPl18+fCO33Jgk3EcYdlBKRnIiUO/eQoN4Eqcl8NRrkAj2zpe93fpKZYtuXIu45ziQfFBo7HFe5/XTquCMk+fJ4J8MdVj/AIXfwS0C+BiHIJezERV8ghuQTxZPtpeqGONVMbiNcrfHt9RiATmBTfKFq+DxrNZoXkqv02S7a/XDOwAWN1piwAbFlHyc2S1G/IyvXG224JMqGjt2iYljTv5dyrY/MDyDVBTZPFnNZpmHTVqn8wbpcPqTg0UiRnlNUzBF5x7j7CgSxrzZ0yXbxYeunDqLTEItguO9kFYVTIAoJJVjdVres0rYYpIYdWtdvEko9OVoJZIk7SXhljYLeAJSS40emoFW/mGq3toiyukjC1jXDzQSQmRms1iCvbdG/UUe+s1mmqhYtyZNJL62cjSFnLIRyQwsMMAxFhFA5a/GIA1x1Dd+o/agVAvyqpKgjmRgPC2RZxoUAPbWazQCMOk7DJdyWN+qoRfymR2UbmgaNfIL8JRBPtqP4a3cyLM4iWWBBciOFIxelYgHy2K1+g+us1mj3BeLOpdyajaKFfSgObo5IjYq5EbuxI9Ru70qHP4ZBu9DdY3RO4meIs8bKY/UHi2F9zAYk+f1A1rWa1CqVjPrceDJGsoaMsIczF6bmM4jI4t3x9zCiQ3t4OuOudbwdTFDDtWdSjekArhclNlQPwWIquSaJsnWtZovmhmtqtBvSPhn+HA3O5aAxY2AwZ5MziFBVSMTbEFrYDA8XzoXfTn1lMcZWM0I1JByQOyHF3sOeQbPF37DnNZpHyUS9oX8PdPEE0sk6ZhID6i2i8TMgILf5asEZrHjiq8jVgVV9afEswV1TJjy3pxol/Y0OR9b1ms16Xw/+6vueV65/wBJ/Y6La2XPvrNZr6JHgvgxZiDfuPGuktiB9dZrNOkTbJZF54FDWpP7VrNZpuwq5IJJhXg3ruGTgk3X0vz/ANtZrNTZZPPBz65PHv8AU6kgBIJ+n/n76zWa10ZK2cSxZWCSD7MDzWu9i5jcV8osMAeCpFe/F/rrNZoamnHUg1LwGGpLTmtvkB+L9hGIxMMh/lBpInIX5SsbleV8MyeDWV//AGEijptjKkkjySEIGJIid0D84qz3UeYHnn9ONZrNfHyj7j6mGcEG2mkDRy8MIqVQfGIYtiQtZAljdnmzd6fwfGQEhk9H12nVoiJyGxLNXYVALL3UQQLHH31ms0haqWPBY+mx+ohT+GCSze8bCPbsYVuyGQYRY5GrHhio8k9y/DW6kCeru1/DQIgiZsBGvygNGAHAJPcbP18azWam5OOUWj7nTP/Z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6" name="ZoneTexte 5"/>
          <p:cNvSpPr txBox="1"/>
          <p:nvPr/>
        </p:nvSpPr>
        <p:spPr>
          <a:xfrm>
            <a:off x="151319" y="2564904"/>
            <a:ext cx="8749625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Learn through pair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Experiment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Track </a:t>
            </a:r>
            <a:r>
              <a:rPr lang="en-US" dirty="0" err="1" smtClean="0"/>
              <a:t>yourselft</a:t>
            </a:r>
            <a:r>
              <a:rPr lang="en-US" dirty="0" smtClean="0"/>
              <a:t> and see progres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2" name="ZoneTexte 1"/>
          <p:cNvSpPr txBox="1"/>
          <p:nvPr/>
        </p:nvSpPr>
        <p:spPr>
          <a:xfrm>
            <a:off x="1907704" y="3645024"/>
            <a:ext cx="8216081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6000" dirty="0" smtClean="0"/>
              <a:t>And </a:t>
            </a:r>
            <a:r>
              <a:rPr lang="fr-FR" sz="6000" dirty="0" err="1" smtClean="0"/>
              <a:t>you</a:t>
            </a:r>
            <a:r>
              <a:rPr lang="fr-FR" sz="6000" dirty="0"/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28217326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 smtClean="0"/>
              <a:t>Code Dojo</a:t>
            </a:r>
            <a:br>
              <a:rPr lang="en-US" sz="3600" dirty="0" smtClean="0"/>
            </a:br>
            <a:r>
              <a:rPr lang="en-US" sz="2400" dirty="0" smtClean="0"/>
              <a:t>Some Principles</a:t>
            </a:r>
            <a:endParaRPr lang="en-US" sz="2400" dirty="0"/>
          </a:p>
        </p:txBody>
      </p:sp>
      <p:sp>
        <p:nvSpPr>
          <p:cNvPr id="4" name="Espace réservé du contenu 3"/>
          <p:cNvSpPr>
            <a:spLocks noGrp="1"/>
          </p:cNvSpPr>
          <p:nvPr>
            <p:ph idx="1"/>
          </p:nvPr>
        </p:nvSpPr>
        <p:spPr>
          <a:xfrm>
            <a:off x="179512" y="2564903"/>
            <a:ext cx="8751924" cy="3888433"/>
          </a:xfrm>
        </p:spPr>
        <p:txBody>
          <a:bodyPr/>
          <a:lstStyle/>
          <a:p>
            <a:pPr>
              <a:buFont typeface="Wingdings" pitchFamily="2" charset="2"/>
              <a:buChar char="v"/>
            </a:pPr>
            <a:r>
              <a:rPr lang="en-US" sz="2800" dirty="0" smtClean="0"/>
              <a:t>Communicate</a:t>
            </a:r>
          </a:p>
          <a:p>
            <a:pPr lvl="1">
              <a:buFont typeface="Wingdings" pitchFamily="2" charset="2"/>
              <a:buChar char="v"/>
            </a:pPr>
            <a:r>
              <a:rPr lang="en-US" sz="1800" dirty="0" smtClean="0">
                <a:solidFill>
                  <a:schemeClr val="bg1">
                    <a:lumMod val="50000"/>
                  </a:schemeClr>
                </a:solidFill>
              </a:rPr>
              <a:t>with your partner, be a pair, with the group</a:t>
            </a:r>
          </a:p>
          <a:p>
            <a:pPr>
              <a:buFont typeface="Wingdings" pitchFamily="2" charset="2"/>
              <a:buChar char="v"/>
            </a:pPr>
            <a:r>
              <a:rPr lang="en-US" sz="2800" dirty="0" smtClean="0"/>
              <a:t>Code is design</a:t>
            </a:r>
          </a:p>
          <a:p>
            <a:pPr lvl="1">
              <a:buFont typeface="Wingdings" pitchFamily="2" charset="2"/>
              <a:buChar char="v"/>
            </a:pPr>
            <a:r>
              <a:rPr lang="en-US" sz="1800" dirty="0" smtClean="0">
                <a:solidFill>
                  <a:schemeClr val="bg1">
                    <a:lumMod val="50000"/>
                  </a:schemeClr>
                </a:solidFill>
              </a:rPr>
              <a:t>No design talk without code, no code without talking</a:t>
            </a:r>
          </a:p>
          <a:p>
            <a:pPr>
              <a:buFont typeface="Wingdings" pitchFamily="2" charset="2"/>
              <a:buChar char="v"/>
            </a:pPr>
            <a:r>
              <a:rPr lang="en-US" sz="2800" dirty="0" smtClean="0"/>
              <a:t>Slow down</a:t>
            </a:r>
          </a:p>
          <a:p>
            <a:pPr lvl="1">
              <a:buFont typeface="Wingdings" pitchFamily="2" charset="2"/>
              <a:buChar char="v"/>
            </a:pPr>
            <a:r>
              <a:rPr lang="en-US" sz="1800" dirty="0" smtClean="0">
                <a:solidFill>
                  <a:schemeClr val="bg1">
                    <a:lumMod val="50000"/>
                  </a:schemeClr>
                </a:solidFill>
              </a:rPr>
              <a:t>No due date, no delivery, no tricks</a:t>
            </a:r>
            <a:endParaRPr lang="en-US" sz="2800" dirty="0" smtClean="0">
              <a:solidFill>
                <a:schemeClr val="bg1">
                  <a:lumMod val="50000"/>
                </a:schemeClr>
              </a:solidFill>
            </a:endParaRPr>
          </a:p>
          <a:p>
            <a:pPr>
              <a:buFont typeface="Wingdings" pitchFamily="2" charset="2"/>
              <a:buChar char="v"/>
            </a:pPr>
            <a:r>
              <a:rPr lang="en-US" sz="2800" dirty="0" smtClean="0"/>
              <a:t>Learning</a:t>
            </a:r>
          </a:p>
          <a:p>
            <a:pPr lvl="1">
              <a:buFont typeface="Wingdings" pitchFamily="2" charset="2"/>
              <a:buChar char="v"/>
            </a:pPr>
            <a:r>
              <a:rPr lang="en-US" sz="1800" dirty="0" smtClean="0">
                <a:solidFill>
                  <a:schemeClr val="bg1">
                    <a:lumMod val="50000"/>
                  </a:schemeClr>
                </a:solidFill>
              </a:rPr>
              <a:t>Open-minded, from others</a:t>
            </a:r>
          </a:p>
          <a:p>
            <a:pPr>
              <a:buFont typeface="Wingdings" pitchFamily="2" charset="2"/>
              <a:buChar char="v"/>
            </a:pPr>
            <a:r>
              <a:rPr lang="en-US" sz="2800" dirty="0" smtClean="0"/>
              <a:t>Challenge yourself</a:t>
            </a:r>
          </a:p>
          <a:p>
            <a:pPr lvl="1">
              <a:buFont typeface="Wingdings" pitchFamily="2" charset="2"/>
              <a:buChar char="v"/>
            </a:pPr>
            <a:r>
              <a:rPr lang="en-US" sz="1800" dirty="0" smtClean="0">
                <a:solidFill>
                  <a:schemeClr val="bg1">
                    <a:lumMod val="50000"/>
                  </a:schemeClr>
                </a:solidFill>
              </a:rPr>
              <a:t>don’t be reluctant to try something new</a:t>
            </a:r>
          </a:p>
          <a:p>
            <a:pPr>
              <a:buFont typeface="Wingdings" pitchFamily="2" charset="2"/>
              <a:buChar char="v"/>
            </a:pPr>
            <a:endParaRPr lang="en-US" sz="2800" dirty="0" smtClean="0"/>
          </a:p>
          <a:p>
            <a:pPr>
              <a:buFont typeface="Wingdings" pitchFamily="2" charset="2"/>
              <a:buChar char="v"/>
            </a:pPr>
            <a:endParaRPr lang="en-US" sz="2800" dirty="0" smtClean="0"/>
          </a:p>
          <a:p>
            <a:pPr>
              <a:buFont typeface="Wingdings" pitchFamily="2" charset="2"/>
              <a:buChar char="v"/>
            </a:pPr>
            <a:endParaRPr lang="en-US" sz="2800" dirty="0" smtClean="0"/>
          </a:p>
          <a:p>
            <a:pPr>
              <a:buFont typeface="Wingdings" pitchFamily="2" charset="2"/>
              <a:buChar char="v"/>
            </a:pPr>
            <a:endParaRPr lang="en-US" sz="2800" dirty="0" smtClean="0"/>
          </a:p>
          <a:p>
            <a:pPr>
              <a:buFont typeface="Wingdings" pitchFamily="2" charset="2"/>
              <a:buChar char="v"/>
            </a:pPr>
            <a:endParaRPr lang="en-US" sz="2800" dirty="0" smtClean="0"/>
          </a:p>
        </p:txBody>
      </p:sp>
      <p:pic>
        <p:nvPicPr>
          <p:cNvPr id="3077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8304" y="1910320"/>
            <a:ext cx="1623132" cy="46150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752176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>
          <a:xfrm>
            <a:off x="395536" y="2132856"/>
            <a:ext cx="8229600" cy="4392488"/>
          </a:xfrm>
        </p:spPr>
        <p:txBody>
          <a:bodyPr/>
          <a:lstStyle/>
          <a:p>
            <a:r>
              <a:rPr lang="en-US" sz="2400" dirty="0" err="1" smtClean="0"/>
              <a:t>JetBrains</a:t>
            </a:r>
            <a:r>
              <a:rPr lang="en-US" sz="2400" dirty="0" smtClean="0"/>
              <a:t> </a:t>
            </a:r>
            <a:r>
              <a:rPr lang="en-US" sz="2400" dirty="0" err="1" smtClean="0"/>
              <a:t>Resharper</a:t>
            </a:r>
            <a:r>
              <a:rPr lang="en-US" sz="2400" dirty="0" smtClean="0"/>
              <a:t> (R#)</a:t>
            </a:r>
          </a:p>
          <a:p>
            <a:pPr lvl="1"/>
            <a:r>
              <a:rPr lang="en-US" sz="2000" dirty="0" smtClean="0"/>
              <a:t>Productivity tool</a:t>
            </a:r>
          </a:p>
          <a:p>
            <a:pPr lvl="1"/>
            <a:r>
              <a:rPr lang="en-US" sz="2000" dirty="0" smtClean="0"/>
              <a:t>Third hand of the developer</a:t>
            </a:r>
          </a:p>
          <a:p>
            <a:pPr lvl="1"/>
            <a:r>
              <a:rPr lang="en-US" sz="2000" dirty="0" smtClean="0"/>
              <a:t>Must have for safe refactoring</a:t>
            </a:r>
          </a:p>
          <a:p>
            <a:endParaRPr lang="en-US" sz="2000" dirty="0" smtClean="0"/>
          </a:p>
          <a:p>
            <a:r>
              <a:rPr lang="en-US" sz="2400" dirty="0" err="1" smtClean="0"/>
              <a:t>Ncrunch</a:t>
            </a:r>
            <a:endParaRPr lang="en-US" sz="2400" dirty="0" smtClean="0"/>
          </a:p>
          <a:p>
            <a:pPr lvl="1"/>
            <a:r>
              <a:rPr lang="en-US" sz="2000" dirty="0" smtClean="0"/>
              <a:t>Continuous testing tool</a:t>
            </a:r>
          </a:p>
          <a:p>
            <a:pPr lvl="1"/>
            <a:r>
              <a:rPr lang="en-US" sz="2000" dirty="0" smtClean="0"/>
              <a:t>Increase speed and feedback of unit testing</a:t>
            </a:r>
          </a:p>
          <a:p>
            <a:pPr lvl="1"/>
            <a:r>
              <a:rPr lang="en-US" sz="2000" dirty="0" smtClean="0"/>
              <a:t>TDD without knowing</a:t>
            </a:r>
          </a:p>
          <a:p>
            <a:endParaRPr lang="en-US" sz="2200" dirty="0" smtClean="0"/>
          </a:p>
          <a:p>
            <a:r>
              <a:rPr lang="en-US" sz="2200" dirty="0" err="1" smtClean="0"/>
              <a:t>nFluent</a:t>
            </a:r>
            <a:endParaRPr lang="en-US" sz="2200" dirty="0" smtClean="0"/>
          </a:p>
          <a:p>
            <a:pPr lvl="1"/>
            <a:r>
              <a:rPr lang="en-US" sz="2000" dirty="0" smtClean="0"/>
              <a:t>Better assertions</a:t>
            </a:r>
          </a:p>
          <a:p>
            <a:pPr lvl="1"/>
            <a:r>
              <a:rPr lang="en-US" sz="2000" dirty="0" smtClean="0"/>
              <a:t>Gorgeous error messages</a:t>
            </a:r>
            <a:endParaRPr lang="en-US" sz="2000" dirty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E7FC98-F726-4387-BD61-63831D042500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460375" y="1161913"/>
            <a:ext cx="8229600" cy="782960"/>
          </a:xfrm>
        </p:spPr>
        <p:txBody>
          <a:bodyPr/>
          <a:lstStyle/>
          <a:p>
            <a:r>
              <a:rPr lang="fr-FR" sz="3600" dirty="0" err="1" smtClean="0"/>
              <a:t>Some</a:t>
            </a:r>
            <a:r>
              <a:rPr lang="fr-FR" sz="3600" dirty="0" smtClean="0"/>
              <a:t> </a:t>
            </a:r>
            <a:r>
              <a:rPr lang="fr-FR" sz="3600" dirty="0" err="1" smtClean="0"/>
              <a:t>tools</a:t>
            </a:r>
            <a:r>
              <a:rPr lang="fr-FR" sz="3600" dirty="0" smtClean="0"/>
              <a:t/>
            </a:r>
            <a:br>
              <a:rPr lang="fr-FR" sz="3600" dirty="0" smtClean="0"/>
            </a:br>
            <a:r>
              <a:rPr lang="fr-FR" sz="1800" dirty="0"/>
              <a:t>(</a:t>
            </a:r>
            <a:r>
              <a:rPr lang="fr-FR" sz="1800" dirty="0" err="1"/>
              <a:t>optionals</a:t>
            </a:r>
            <a:r>
              <a:rPr lang="fr-FR" sz="1800" dirty="0"/>
              <a:t>)</a:t>
            </a:r>
            <a:br>
              <a:rPr lang="fr-FR" sz="1800" dirty="0"/>
            </a:br>
            <a:endParaRPr lang="fr-FR" sz="1800" dirty="0"/>
          </a:p>
        </p:txBody>
      </p:sp>
      <p:sp>
        <p:nvSpPr>
          <p:cNvPr id="5" name="AutoShape 2" descr="data:image/jpeg;base64,/9j/4AAQSkZJRgABAQAAAQABAAD/2wCEAAkGBhQQEBASEhIPEBAWEBIQEA8UFRQPEBIQFBAVFBQQEhIXGyYeFxkjGRIUHy8gIycpLCwsFR4xNTAqNSYrLCkBCQoKDgwOGg8PGiklHyQtKTQpLDA1KiksLC0sLCw1NSwqLCwvLDQsLC0pLCotLCwsKSwsLCwsLCwsLCksLCwpKf/AABEIAMsA+AMBIgACEQEDEQH/xAAcAAEAAQUBAQAAAAAAAAAAAAAABgIDBAUHAQj/xAA+EAABAwIBCAgEBQMDBQAAAAABAAIDBBEGBRIhMUFRcZEHEzJhgaGxwSJSYtEUI0JDcoKSojPh4hVTwvDx/8QAGgEBAAIDAQAAAAAAAAAAAAAAAAUGAgMEAf/EACwRAAICAgEDAgUEAwEAAAAAAAABAgMEETEFEiETQVFhcaHxQoGRwTKx0SL/2gAMAwEAAhEDEQA/AO4oiIAiIgCK26oaDYkA/wDu1etlB1EHgQUBWiIgCIiAIiIAiIgCIiAIiIAiIgCIiAIiIAiIgCIiAIiIAiIgCIiAIi8KAt05vnHe8+QA9lW6IHWAeIBVukHwDvu7+4k+6vIC1+GbutwJb6J1O5zx439QVdRAWsx3zA8R9il3bmnxI8rK6iAtdadrHeFj7p+IG3OHFp9bK6qTIN45oCkTtP6m81cXhAO4+at/hm7gOHw+iAuorXUbi4eJPqnVu2O5gH0sgLqK18f0Hm37p1jtrT4EH1sgLqK11+8OHgT6L0VDfmHjo9UBcReB19WleoAiIgCIiAIiIAiIgCIiAIiIArdQ6zXHuPoris1XZtvIHNwCAuRtsANwA8lUiIAiKN40xnHk6K+h87geqivr+p25oXqWzKMXJ6RtMtZfho4+snkbG3YNbnHc1uslcyy70ySvJbSxtib/AN2T4nnvDdQ81BMr5Zlq5TLO8vedXytHytGwLCW5QS5JWrEjHzLyzbV2LKuc/mVM57g4sbybZa41b/nk/ud91aRZnWopcIzaXLc8RvHPOw9z3W5XspNknpXrIbB5ZUM2h4s+3c8KGIjSZjKuEuUd3w10l01YQwkwTH9t/ZJ3MfqKly+Wl0bAHSU6JzKarcXRGzY5jpdGdgedre/YtUofAj7sTS7ofwdfReNdcXGkawVRUzBjHOOoNJ5BaW0ltnAlt6Li8IXPP+uTZxIkeLkm17gX2WWVFiqdv6mu4tHsoSPW6Hymv4JN9Mt9mibGnaf0t5aea8/DjYXD+oqPZIxPJNKyMsZp1uFxYDbZSZSmPk15Ee6vg4bqZ0vtmWuqOx58QD7JZ+9p8CPcqzXZUjhzesdm31aCdSpiy1C7VKznb1WburUu1yW/hsxVU2u5J6MjPd8oPA/eyddva8eF/RVMna7U5p4EFVrYmnwYa0WvxLd9uN2+qra8HUQeGlVKh0LTra0+AXp4VorLoAATpFgTocQOV7Kikqg5o03NhfjZAZKIiAIiIArM+tg+q/JpKvKy7TI3ua4+YH3QF5ERAYmVcpMpoZJpDZjGlx3m2oDvK+dcu5akrJ3zyH4nHQ3Yxn6WDuC6P0z5aIZBStPaPWyD6WmzRzvyXKFvrXjZLYdWo979wiIth3BFvcL4Onyg8iIBsYNnzO7De4bz3LoNP0KwBvx1E7nbS0NYL9w0rFySNFl8IPTZyFF0HEfRFLAx0lM8ztAuYyLS2Hy20O4Ln5H/AMXqafBnCyM1uLPERF6bDsvRLigzwuppHXkhALCdJdCTYcjo5KR4vrMyAMGt7reA0lcYwDlM0+UaZ17Nc/qn/wAXi3rZdpxdT51PnbWuB8DoKi+pKSx59vw/P2I704wyot8N/f8AJCERFQCwkowXR/6kp/g31KlSwci0fVQRt22ueJ0q/XVIije8/paT47FesOpY+Ok/ZbZVcmbuubXx0iF4orOsqHAamDMHHWfNaheveSSTrJJPErxUq6122Sm/dlmqgq4KK9j1riNRIPdoXRsk05jhjaSS7NBcTpNzpKhGQaPraiNuwHOdwbp9V0JWDolL1K1/RER1SzzGC+oREVjIYxMqzZkErt0bvRaXDUhc0XWfimXNpZO/NbzcPssbDcVmBAb9ERAEREAVlnbd3NaPMlXlZg1vP1W5AD2KAvIiIDgnSdW9ZlOfcwMiA4NufMqKrZYkqetrKp++eTkHWHotaupcFgrWoJfILJydQOnmihZ2nvawd1za/hrWMpj0UUuflJhtcMikf42DQfNG9IWS7YuR2bImR2UkEcEYs1rbd7nbXHvJWciLlIBvb2wuHdK2RW09dnsFmzM6wgag8GzuetdxXHOmetDquCMEExwuLu4vdoB8B5rOvk6sNv1PBz1ERdBMmTk51poSNYmjI454X0Xl4XpZf4L58w7SmWrpmDSTMzkDc+QX0BiWTNpZNlwGjxIXDnNKmW/g/wDRw3+bq0vj/ZAVn5Co+tqI27Ac93ALAWyyLlcUznOzM8kAXvawVBxuz1Y+o/G/JM3d3pvs5OgKOYyrLRsjGtxueDf917FjSM9pj28io/lzKInmLxfNsGtvuCsnUOoVSx3GqW2/H7ELiYlkbk5rSRr0RehtyANZNhxKqhPEswZR2a+U7TmDgNfqpKsbJtJ1UUbNzRfjtWSr9h0+jTGHy8/UqeTb6trkERF1Ggj2MpPyom/NKPIFZmQo7MHBavFr7y07Nwc7mQPZbzJbLMHBAZqIiAIiIAVZpezfeSebiq5XWaTuBPkkLbNaNzQPJAVqxXTZkUj/AJWOdyaSr60eNqrqsn1btX5LgOLtA9V6jKK20j54e/OJdvJdzN/dUoEXUWELpHQpS3nqpPljYwcXOJPoFzddf6FaW1NUSfNMG+DWD7rCfBz5T1UzoyLWYixBHQwOmlOgaGtHae86mtXFMRdIVVWFw6wwwnVDGc3R9TtblpjFsjKceVvlcHUcWdIsFE1zWObNUW+GJpuGnfI4auGtcPyhXvnlfLI7Oke4uce87B3BY6LfGKRK00RqXjkIirihc9zWtBc5xDWtGkknQAFkbia9EeRjNW9cR8ELC6+zrHfCByuV0jGlXZkce0nOPBur1VeC8ODJ1G1jrdYfzJ3fWRpF9wAso5lev6+Zz/06mj6RqVf6zkqFPYuZeP29zlx16+R3+0TCRZWTsnPncWstcC5voFlly4Ynb+jO4EFVOGPbOPdGLaJaV1cX2ykkzVIrtRSujNntLTa9ju3q0tLTT0zYmmtoL0FeIvD0zIsrzN1Sv53UiwxlOaZ7s92cxrdwuSdQuoip1haj6unaTrec88NgUz0p22Xpdz0vL8sjM9Vwqb0ts3CIit5XiI5bdnVoHysaOdz7qT0bbNCil8+tmO5+b/aAPZS6AfCEBcREQBERAWavskb7DmQPdXlZn1sH1jyufZXkAUM6WqnMya8fPJGzwzrn0UzXNemuqtBSx/NK5/g1v/JZR5N+Ot2ROSIiLpJ09XdeiqlzMmQn53SSc3aPRcJK+jcH0vVUFIzdAy/Ei59Vqs4OHNf/AIS+ZzTplykXVUMFzmMiD7b3vJ08hZc9U96Y6Mtro5LaHwAA97HEEeY5qBLOPBvx9elHQREWRvK4oi9wa0FzibNaBdxJ2ALsfR50efhLVFQAagj4GaxCD/5ei2mBcMUkEEU8DesdIwO699nP0jSBsbp3JiDEjruiju2xzXvOh3eG7uKj8zNhjw7pfk4HOeRL06/C92eYoy7nXhjOj9xw2/SFGURUTJyJ5FjnL8EzTTGmHbEmGDaPNjdIdbjYfxH+6kSiOT8WNiYxhiNmgC4PmsqpxfG6N4aHh5aQ240XPerPiZmLTQoKS8L7kHkY19lrk48s0GXKzrZ5HbAc1vALARFU7Juybm+WT8IqEVFexUxhcQBrJAHEqajCUJaLhwdYXIOs20laDC1H1lQCdTBn+OxTpWHpGHCdcp2RT3xv5ER1DIlCajB61yRyTBTNkjx3GxUhjYGgAagABwCqRTlONVS26462Rdl9lulN70EJRY+UJc2KR25jj/iV0GkieQvjle/e9x5uKmTBoCieFYtAKlwQBERAEREBZfpezuDj6D3V5WW6ZD3NA5kn2CvIAuP9NNVeppo/lhc48XO+wXYFwjpUqs/Kco+RkbP8bn1WdfJ2Ya3YRFERdBMFcMWc5jfmc1vNwHuvp2lizGMbua1vIAL50wpS9bXUjN87CeAOcfRfSC02EZnPzFES6S8N/jKNxYLzQ3lj3kAfGzxHouDr6lXBOkXDf4Ksdmi0Mt5YtwJPxM8D6pW/Y9wrf0P9iKoiLcSR1DoexLYvonnQbyQX3/rYPXmpTjDJliJmjQbNfx2O9lw6grXQSxyxmz2OD2nvB1cNi+iMl5QjyhRskGlkjPiHyu1ObxBUbn4qyKnD+PqcM28e5Wrh8kCRXqulMT3MdrabcdxWZTYfmkYJGNBadXxAHkVQ402Sk4xi21yialZCKUm1pmtRZsuRZ264n8QM4eSwljOuUPEk19fB7GcZf4vYREWBmXIahzNLXObwNlmR4gnb+448bFa9ZWTKTrZo2bC4X/iNa31TtUlGuTW/marIw03NInuSnvdCx0ml5Fzotr1eSy141tgB4L1X6Ee2KTe9FSk9tsLV4llzaWXvAb/c4BbRaHGMloGN+aVvkCVmYlvDMVmhSJajIMdmDgtugCIiAIiFAWYNbz9QHJo+5V5WaXs33ucf8iryAL5xxdVdbX1b987wODfh9l9GP1G2uxtxXz/lLBNcHyPdTSnOe5xLbP1uJ2LZWd+E0m22RxFlT5Lmj7cMrOLHD2WKdGvR5LeSieyWdF1Ln5Th+hsknJth6rvK470L02dV1Enywhvi5/8AxXYlos5IjMe7NfIKNdIGG/xtG9rR+cz82E7c4DS3xGjkpKiwT0csZOLTR8t28N479y8Uy6UMNfhasyMFoZrvG5sn62+/ioaulPa2T8JqcVJBdF6H8RmOZ9I8/BJd8W4SAaR4j0XOls8MzmOtpXDWKiPxu4C3mvJLaMbYKcGmdsxdkzOMT2j4i4RHvv2T6qQ0sAjY1g1NaByCqkiDrXF7EOHEaiq1GV40a7Z2r9WiHnc51xg/bZrcQVnVU7zqJGY3i5c/UjxnWXeyMamjOdxOryUcVX6td6mQ4riPj/pO9Pq7Kd/ELb4cySKiR2eCWNbpsbaTq0rUKc4Uo8yAOOt5z/DYtXTcdX3pSXheWZ5tzqqbXL4LMmDIjqdIO64Psr+ScONp5C8OLjm5ouLWvrW4RWuODjxkpxgk0QMsq6UXFy8BERdhzBRjGD7vp2d7nHyA91J1EsQOzqxjfljHmSUBvsksswcFnrGoW2aFkoAiIgCpkdYE911UrNYfgdwKA9phZjf4i/G2lXVZjqmHQHtPdcXV5AEREBS5gOsA8dKwqnINPJ24IXcWNvzss9EPU2uDX5Lw/BSl5giZEX2z80WvbUtgiIG2/LCIiHhosaYcFfSSRaBIPjicdkg1eB1eK+faukfC90cjXRyNNnMcLEH7L6fWtythynqv9eGOQ7HEWcP6hpWcZ6OvHyfS8Pg+bFOei/Cb6ipZUvaRTxHODiLZ8g7IbvA13XRqbo3oI3Zwp2uN7gOLnjkTZSSOINAa0BrRoDQLADcAFlKz4G63MUo6iipeOdYEnUBcr1Y+UKd0kT2NIaXC2drtvWibai2ltnBFJtJnPcoVXWyvfvcbcNnksdb6XB0w1Ojd4kLElw5UN/bJ4EFUW3EyduUoP+C0wyKdJRkjCpKcySMYNbnAffyXSoow1oaNQAA4BRTCuSXNmc+Rjm5rfhuLfEd3gparD0bHddbnJeW/siI6lcpzUVwv7CIimyLCIiAKHTnPrpTucG8mgKYqF5IOfPK7fI4/5FAS+nFmhXVTGNAVSAIiIArVQ27SrqICCZayO5ziRdattJUR9mSVvBzvuulPpwditOye07EBAY8tVjP3XH+QDvULJjxrVN7TIn/0lp8ipc/IzTsCxZMPNOwIDTRdIJHbg/td9ws2HH8B7TZWeAcPIr2XC7TsWHLhMbkBuYcXUrv3Q3ucHN9Qs+HKkT+zLE7g5v3UKlwodyw5cMOGxAdKDr6tK9XLxkyaPsukbwcQrzMo1keqaQ8fi9UB0pFz6PF9WzX1b+LbelllRdIEg7cDT/FxHkQgJuiisPSDEe3HK3hZ3uFnQ40pXfuFv8muHsgN4iwYMtwP7M0R/qAPIrMZIDqIPA3QFSIiAIiIAiIgCIiAtVUubG925jjyBKimFo9q3+IZc2lmP0W5m3utXhiKzQgJIF6iIAiIgCIiAIiIAiIgC8svUQFJjG5UGnB2K6iAxnUDTsVl+SWnYFnogNPJkBp2BYkuGWnYpGiAiEuFBuWFLhPuU8sqSwIDnMuFnDYsc5EkZ2S9vAkei6YYBuVt1E07EBztlRVx9maXgSSORWRHiisZrc1/8mj1FlN35LadgWPJkJp2BARqLHsw7cMbuBc37rNi6QmfrhkbwId9lmy4aadiw5cKjcgMyHHFM7W57P5NPtdZ0OIqd+qeLxOb6qMy4TWFLhU7kB0GOoa7sua7gQfRXFzB2Hnt1XHDQvWNqY+zLMP6j7oCZYwktT2+aRg87+yqw/HZg4KJNqKibNbK8vaHXFwL31awFN8kxZrBwQGwREQBERAEREAREQBERAEREAREQBERAEREAREQBERAEREAREQHhaFSYRuVaICw6kaditPya07FmIgMBuSmg6gsyNlgq0QBERAEREB//9k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6" name="AutoShape 4" descr="data:image/jpeg;base64,/9j/4AAQSkZJRgABAQAAAQABAAD/2wCEAAkGBhQQEBASEhIPEBAWEBIQEA8UFRQPEBIQFBAVFBQQEhIXGyYeFxkjGRIUHy8gIycpLCwsFR4xNTAqNSYrLCkBCQoKDgwOGg8PGiklHyQtKTQpLDA1KiksLC0sLCw1NSwqLCwvLDQsLC0pLCotLCwsKSwsLCwsLCwsLCksLCwpKf/AABEIAMsA+AMBIgACEQEDEQH/xAAcAAEAAQUBAQAAAAAAAAAAAAAABgIDBAUHAQj/xAA+EAABAwIBCAgEBQMDBQAAAAABAAIDBBEGBRIhMUFRcZEHEzJhgaGxwSJSYtEUI0JDcoKSojPh4hVTwvDx/8QAGgEBAAIDAQAAAAAAAAAAAAAAAAUGAgMEAf/EACwRAAICAgEDAgUEAwEAAAAAAAABAgMEETEFEiETQVFhcaHxQoGRwTKx0SL/2gAMAwEAAhEDEQA/AO4oiIAiIgCK26oaDYkA/wDu1etlB1EHgQUBWiIgCIiAIiIAiIgCIiAIiIAiIgCIiAIiIAiIgCIiAIiIAiIgCIiAIi8KAt05vnHe8+QA9lW6IHWAeIBVukHwDvu7+4k+6vIC1+GbutwJb6J1O5zx439QVdRAWsx3zA8R9il3bmnxI8rK6iAtdadrHeFj7p+IG3OHFp9bK6qTIN45oCkTtP6m81cXhAO4+at/hm7gOHw+iAuorXUbi4eJPqnVu2O5gH0sgLqK18f0Hm37p1jtrT4EH1sgLqK11+8OHgT6L0VDfmHjo9UBcReB19WleoAiIgCIiAIiIAiIgCIiAIiIArdQ6zXHuPoris1XZtvIHNwCAuRtsANwA8lUiIAiKN40xnHk6K+h87geqivr+p25oXqWzKMXJ6RtMtZfho4+snkbG3YNbnHc1uslcyy70ySvJbSxtib/AN2T4nnvDdQ81BMr5Zlq5TLO8vedXytHytGwLCW5QS5JWrEjHzLyzbV2LKuc/mVM57g4sbybZa41b/nk/ud91aRZnWopcIzaXLc8RvHPOw9z3W5XspNknpXrIbB5ZUM2h4s+3c8KGIjSZjKuEuUd3w10l01YQwkwTH9t/ZJ3MfqKly+Wl0bAHSU6JzKarcXRGzY5jpdGdgedre/YtUofAj7sTS7ofwdfReNdcXGkawVRUzBjHOOoNJ5BaW0ltnAlt6Li8IXPP+uTZxIkeLkm17gX2WWVFiqdv6mu4tHsoSPW6Hymv4JN9Mt9mibGnaf0t5aea8/DjYXD+oqPZIxPJNKyMsZp1uFxYDbZSZSmPk15Ee6vg4bqZ0vtmWuqOx58QD7JZ+9p8CPcqzXZUjhzesdm31aCdSpiy1C7VKznb1WburUu1yW/hsxVU2u5J6MjPd8oPA/eyddva8eF/RVMna7U5p4EFVrYmnwYa0WvxLd9uN2+qra8HUQeGlVKh0LTra0+AXp4VorLoAATpFgTocQOV7Kikqg5o03NhfjZAZKIiAIiIArM+tg+q/JpKvKy7TI3ua4+YH3QF5ERAYmVcpMpoZJpDZjGlx3m2oDvK+dcu5akrJ3zyH4nHQ3Yxn6WDuC6P0z5aIZBStPaPWyD6WmzRzvyXKFvrXjZLYdWo979wiIth3BFvcL4Onyg8iIBsYNnzO7De4bz3LoNP0KwBvx1E7nbS0NYL9w0rFySNFl8IPTZyFF0HEfRFLAx0lM8ztAuYyLS2Hy20O4Ln5H/AMXqafBnCyM1uLPERF6bDsvRLigzwuppHXkhALCdJdCTYcjo5KR4vrMyAMGt7reA0lcYwDlM0+UaZ17Nc/qn/wAXi3rZdpxdT51PnbWuB8DoKi+pKSx59vw/P2I704wyot8N/f8AJCERFQCwkowXR/6kp/g31KlSwci0fVQRt22ueJ0q/XVIije8/paT47FesOpY+Ok/ZbZVcmbuubXx0iF4orOsqHAamDMHHWfNaheveSSTrJJPErxUq6122Sm/dlmqgq4KK9j1riNRIPdoXRsk05jhjaSS7NBcTpNzpKhGQaPraiNuwHOdwbp9V0JWDolL1K1/RER1SzzGC+oREVjIYxMqzZkErt0bvRaXDUhc0XWfimXNpZO/NbzcPssbDcVmBAb9ERAEREAVlnbd3NaPMlXlZg1vP1W5AD2KAvIiIDgnSdW9ZlOfcwMiA4NufMqKrZYkqetrKp++eTkHWHotaupcFgrWoJfILJydQOnmihZ2nvawd1za/hrWMpj0UUuflJhtcMikf42DQfNG9IWS7YuR2bImR2UkEcEYs1rbd7nbXHvJWciLlIBvb2wuHdK2RW09dnsFmzM6wgag8GzuetdxXHOmetDquCMEExwuLu4vdoB8B5rOvk6sNv1PBz1ERdBMmTk51poSNYmjI454X0Xl4XpZf4L58w7SmWrpmDSTMzkDc+QX0BiWTNpZNlwGjxIXDnNKmW/g/wDRw3+bq0vj/ZAVn5Co+tqI27Ac93ALAWyyLlcUznOzM8kAXvawVBxuz1Y+o/G/JM3d3pvs5OgKOYyrLRsjGtxueDf917FjSM9pj28io/lzKInmLxfNsGtvuCsnUOoVSx3GqW2/H7ELiYlkbk5rSRr0RehtyANZNhxKqhPEswZR2a+U7TmDgNfqpKsbJtJ1UUbNzRfjtWSr9h0+jTGHy8/UqeTb6trkERF1Ggj2MpPyom/NKPIFZmQo7MHBavFr7y07Nwc7mQPZbzJbLMHBAZqIiAIiIAVZpezfeSebiq5XWaTuBPkkLbNaNzQPJAVqxXTZkUj/AJWOdyaSr60eNqrqsn1btX5LgOLtA9V6jKK20j54e/OJdvJdzN/dUoEXUWELpHQpS3nqpPljYwcXOJPoFzddf6FaW1NUSfNMG+DWD7rCfBz5T1UzoyLWYixBHQwOmlOgaGtHae86mtXFMRdIVVWFw6wwwnVDGc3R9TtblpjFsjKceVvlcHUcWdIsFE1zWObNUW+GJpuGnfI4auGtcPyhXvnlfLI7Oke4uce87B3BY6LfGKRK00RqXjkIirihc9zWtBc5xDWtGkknQAFkbia9EeRjNW9cR8ELC6+zrHfCByuV0jGlXZkce0nOPBur1VeC8ODJ1G1jrdYfzJ3fWRpF9wAso5lev6+Zz/06mj6RqVf6zkqFPYuZeP29zlx16+R3+0TCRZWTsnPncWstcC5voFlly4Ynb+jO4EFVOGPbOPdGLaJaV1cX2ykkzVIrtRSujNntLTa9ju3q0tLTT0zYmmtoL0FeIvD0zIsrzN1Sv53UiwxlOaZ7s92cxrdwuSdQuoip1haj6unaTrec88NgUz0p22Xpdz0vL8sjM9Vwqb0ts3CIit5XiI5bdnVoHysaOdz7qT0bbNCil8+tmO5+b/aAPZS6AfCEBcREQBERAWavskb7DmQPdXlZn1sH1jyufZXkAUM6WqnMya8fPJGzwzrn0UzXNemuqtBSx/NK5/g1v/JZR5N+Ot2ROSIiLpJ09XdeiqlzMmQn53SSc3aPRcJK+jcH0vVUFIzdAy/Ei59Vqs4OHNf/AIS+ZzTplykXVUMFzmMiD7b3vJ08hZc9U96Y6Mtro5LaHwAA97HEEeY5qBLOPBvx9elHQREWRvK4oi9wa0FzibNaBdxJ2ALsfR50efhLVFQAagj4GaxCD/5ei2mBcMUkEEU8DesdIwO699nP0jSBsbp3JiDEjruiju2xzXvOh3eG7uKj8zNhjw7pfk4HOeRL06/C92eYoy7nXhjOj9xw2/SFGURUTJyJ5FjnL8EzTTGmHbEmGDaPNjdIdbjYfxH+6kSiOT8WNiYxhiNmgC4PmsqpxfG6N4aHh5aQ240XPerPiZmLTQoKS8L7kHkY19lrk48s0GXKzrZ5HbAc1vALARFU7Juybm+WT8IqEVFexUxhcQBrJAHEqajCUJaLhwdYXIOs20laDC1H1lQCdTBn+OxTpWHpGHCdcp2RT3xv5ER1DIlCajB61yRyTBTNkjx3GxUhjYGgAagABwCqRTlONVS26462Rdl9lulN70EJRY+UJc2KR25jj/iV0GkieQvjle/e9x5uKmTBoCieFYtAKlwQBERAEREBZfpezuDj6D3V5WW6ZD3NA5kn2CvIAuP9NNVeppo/lhc48XO+wXYFwjpUqs/Kco+RkbP8bn1WdfJ2Ya3YRFERdBMFcMWc5jfmc1vNwHuvp2lizGMbua1vIAL50wpS9bXUjN87CeAOcfRfSC02EZnPzFES6S8N/jKNxYLzQ3lj3kAfGzxHouDr6lXBOkXDf4Ksdmi0Mt5YtwJPxM8D6pW/Y9wrf0P9iKoiLcSR1DoexLYvonnQbyQX3/rYPXmpTjDJliJmjQbNfx2O9lw6grXQSxyxmz2OD2nvB1cNi+iMl5QjyhRskGlkjPiHyu1ObxBUbn4qyKnD+PqcM28e5Wrh8kCRXqulMT3MdrabcdxWZTYfmkYJGNBadXxAHkVQ402Sk4xi21yialZCKUm1pmtRZsuRZ264n8QM4eSwljOuUPEk19fB7GcZf4vYREWBmXIahzNLXObwNlmR4gnb+448bFa9ZWTKTrZo2bC4X/iNa31TtUlGuTW/marIw03NInuSnvdCx0ml5Fzotr1eSy141tgB4L1X6Ee2KTe9FSk9tsLV4llzaWXvAb/c4BbRaHGMloGN+aVvkCVmYlvDMVmhSJajIMdmDgtugCIiAIiFAWYNbz9QHJo+5V5WaXs33ucf8iryAL5xxdVdbX1b987wODfh9l9GP1G2uxtxXz/lLBNcHyPdTSnOe5xLbP1uJ2LZWd+E0m22RxFlT5Lmj7cMrOLHD2WKdGvR5LeSieyWdF1Ln5Th+hsknJth6rvK470L02dV1Enywhvi5/8AxXYlos5IjMe7NfIKNdIGG/xtG9rR+cz82E7c4DS3xGjkpKiwT0csZOLTR8t28N479y8Uy6UMNfhasyMFoZrvG5sn62+/ioaulPa2T8JqcVJBdF6H8RmOZ9I8/BJd8W4SAaR4j0XOls8MzmOtpXDWKiPxu4C3mvJLaMbYKcGmdsxdkzOMT2j4i4RHvv2T6qQ0sAjY1g1NaByCqkiDrXF7EOHEaiq1GV40a7Z2r9WiHnc51xg/bZrcQVnVU7zqJGY3i5c/UjxnWXeyMamjOdxOryUcVX6td6mQ4riPj/pO9Pq7Kd/ELb4cySKiR2eCWNbpsbaTq0rUKc4Uo8yAOOt5z/DYtXTcdX3pSXheWZ5tzqqbXL4LMmDIjqdIO64Psr+ScONp5C8OLjm5ouLWvrW4RWuODjxkpxgk0QMsq6UXFy8BERdhzBRjGD7vp2d7nHyA91J1EsQOzqxjfljHmSUBvsksswcFnrGoW2aFkoAiIgCpkdYE911UrNYfgdwKA9phZjf4i/G2lXVZjqmHQHtPdcXV5AEREBS5gOsA8dKwqnINPJ24IXcWNvzss9EPU2uDX5Lw/BSl5giZEX2z80WvbUtgiIG2/LCIiHhosaYcFfSSRaBIPjicdkg1eB1eK+faukfC90cjXRyNNnMcLEH7L6fWtythynqv9eGOQ7HEWcP6hpWcZ6OvHyfS8Pg+bFOei/Cb6ipZUvaRTxHODiLZ8g7IbvA13XRqbo3oI3Zwp2uN7gOLnjkTZSSOINAa0BrRoDQLADcAFlKz4G63MUo6iipeOdYEnUBcr1Y+UKd0kT2NIaXC2drtvWibai2ltnBFJtJnPcoVXWyvfvcbcNnksdb6XB0w1Ojd4kLElw5UN/bJ4EFUW3EyduUoP+C0wyKdJRkjCpKcySMYNbnAffyXSoow1oaNQAA4BRTCuSXNmc+Rjm5rfhuLfEd3gparD0bHddbnJeW/siI6lcpzUVwv7CIimyLCIiAKHTnPrpTucG8mgKYqF5IOfPK7fI4/5FAS+nFmhXVTGNAVSAIiIArVQ27SrqICCZayO5ziRdattJUR9mSVvBzvuulPpwditOye07EBAY8tVjP3XH+QDvULJjxrVN7TIn/0lp8ipc/IzTsCxZMPNOwIDTRdIJHbg/td9ws2HH8B7TZWeAcPIr2XC7TsWHLhMbkBuYcXUrv3Q3ucHN9Qs+HKkT+zLE7g5v3UKlwodyw5cMOGxAdKDr6tK9XLxkyaPsukbwcQrzMo1keqaQ8fi9UB0pFz6PF9WzX1b+LbelllRdIEg7cDT/FxHkQgJuiisPSDEe3HK3hZ3uFnQ40pXfuFv8muHsgN4iwYMtwP7M0R/qAPIrMZIDqIPA3QFSIiAIiIAiIgCIiAtVUubG925jjyBKimFo9q3+IZc2lmP0W5m3utXhiKzQgJIF6iIAiIgCIiAIiIAiIgC8svUQFJjG5UGnB2K6iAxnUDTsVl+SWnYFnogNPJkBp2BYkuGWnYpGiAiEuFBuWFLhPuU8sqSwIDnMuFnDYsc5EkZ2S9vAkei6YYBuVt1E07EBztlRVx9maXgSSORWRHiisZrc1/8mj1FlN35LadgWPJkJp2BARqLHsw7cMbuBc37rNi6QmfrhkbwId9lmy4aadiw5cKjcgMyHHFM7W57P5NPtdZ0OIqd+qeLxOb6qMy4TWFLhU7kB0GOoa7sua7gQfRXFzB2Hnt1XHDQvWNqY+zLMP6j7oCZYwktT2+aRg87+yqw/HZg4KJNqKibNbK8vaHXFwL31awFN8kxZrBwQGwREQBERAEREAREQBERAEREAREQBERAEREAREQBERAEREAREQHhaFSYRuVaICw6kaditPya07FmIgMBuSmg6gsyNlgq0QBERAEREB//9k=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pic>
        <p:nvPicPr>
          <p:cNvPr id="6150" name="Picture 6" descr="http://www.google.fr/url?source=imglanding&amp;ct=img&amp;q=http://micheltriana.com/wp-content/uploads/2010/12/resharper-8x6.png&amp;sa=X&amp;ei=4prtUZn-GurG0QWL2YCADg&amp;ved=0CAwQ8wc&amp;usg=AFQjCNF3IC8l3Wf9KK_wIp5Gwl8t2TASsA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73607" y="1988840"/>
            <a:ext cx="2008066" cy="144016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52" name="Picture 8" descr="http://www.ncrunch.net/Content/Home/N-icon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5572" y="3933056"/>
            <a:ext cx="1224136" cy="122413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84168" y="5445224"/>
            <a:ext cx="2857500" cy="121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574820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>
          <a:xfrm>
            <a:off x="251520" y="2171997"/>
            <a:ext cx="4392488" cy="3921299"/>
          </a:xfrm>
        </p:spPr>
        <p:txBody>
          <a:bodyPr/>
          <a:lstStyle/>
          <a:p>
            <a:endParaRPr lang="en-US" sz="2400" dirty="0" smtClean="0"/>
          </a:p>
          <a:p>
            <a:r>
              <a:rPr lang="en-US" sz="2400" dirty="0" smtClean="0"/>
              <a:t>Talk</a:t>
            </a:r>
          </a:p>
          <a:p>
            <a:r>
              <a:rPr lang="en-US" sz="2400" dirty="0" smtClean="0"/>
              <a:t>Baby steps</a:t>
            </a:r>
          </a:p>
          <a:p>
            <a:r>
              <a:rPr lang="en-US" sz="2400" dirty="0" smtClean="0"/>
              <a:t>Red Green Refactor</a:t>
            </a:r>
          </a:p>
          <a:p>
            <a:endParaRPr lang="en-US" sz="2400" dirty="0" smtClean="0"/>
          </a:p>
          <a:p>
            <a:endParaRPr lang="en-US" sz="2000" dirty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E7FC98-F726-4387-BD61-63831D042500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 smtClean="0"/>
              <a:t>Some tips</a:t>
            </a:r>
            <a:br>
              <a:rPr lang="en-US" sz="3600" dirty="0" smtClean="0"/>
            </a:br>
            <a:r>
              <a:rPr lang="en-US" sz="1800" dirty="0" smtClean="0"/>
              <a:t/>
            </a:r>
            <a:br>
              <a:rPr lang="en-US" sz="1800" dirty="0" smtClean="0"/>
            </a:br>
            <a:endParaRPr lang="en-US" sz="1800" dirty="0"/>
          </a:p>
        </p:txBody>
      </p:sp>
      <p:pic>
        <p:nvPicPr>
          <p:cNvPr id="7170" name="Picture 2" descr="http://iseibpsychology2012.wikispaces.com/file/view/250px-Talk_face.svg.png/229312442/250px-Talk_face.svg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1640" y="4437112"/>
            <a:ext cx="1728192" cy="20738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2" name="Picture 4" descr="http://morethanpuppets.files.wordpress.com/2012/05/listen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08104" y="3645024"/>
            <a:ext cx="2952328" cy="30718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Espace réservé du contenu 1"/>
          <p:cNvSpPr txBox="1">
            <a:spLocks/>
          </p:cNvSpPr>
          <p:nvPr/>
        </p:nvSpPr>
        <p:spPr bwMode="auto">
          <a:xfrm>
            <a:off x="4067944" y="2141240"/>
            <a:ext cx="4968552" cy="39212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marR="0" indent="-342900" algn="l" defTabSz="914400" rtl="0" eaLnBrk="1" fontAlgn="base" latinLnBrk="0" hangingPunct="1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>
                <a:srgbClr val="D09E00"/>
              </a:buClr>
              <a:buSzTx/>
              <a:buFont typeface="Arial" charset="0"/>
              <a:buChar char="•"/>
              <a:tabLst/>
              <a:def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marR="0" indent="-285750" algn="l" defTabSz="914400" rtl="0" eaLnBrk="1" fontAlgn="base" latinLnBrk="0" hangingPunct="1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>
                <a:srgbClr val="D09E00"/>
              </a:buClr>
              <a:buSzTx/>
              <a:buFont typeface="Arial" charset="0"/>
              <a:buChar char="–"/>
              <a:tabLst/>
              <a:def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marR="0" indent="-228600" algn="l" defTabSz="914400" rtl="0" eaLnBrk="1" fontAlgn="base" latinLnBrk="0" hangingPunct="1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>
                <a:srgbClr val="D09E00"/>
              </a:buClr>
              <a:buSzTx/>
              <a:buFont typeface="Arial" charset="0"/>
              <a:buChar char="•"/>
              <a:tabLst/>
              <a:def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marR="0" indent="-228600" algn="l" defTabSz="914400" rtl="0" eaLnBrk="1" fontAlgn="base" latinLnBrk="0" hangingPunct="1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>
                <a:srgbClr val="D09E00"/>
              </a:buClr>
              <a:buSzTx/>
              <a:buFont typeface="Arial" charset="0"/>
              <a:buChar char="–"/>
              <a:tabLst/>
              <a:def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marR="0" indent="-228600" algn="l" defTabSz="914400" rtl="0" eaLnBrk="1" fontAlgn="base" latinLnBrk="0" hangingPunct="1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>
                <a:srgbClr val="D09E00"/>
              </a:buClr>
              <a:buSzTx/>
              <a:buFont typeface="Arial" charset="0"/>
              <a:buChar char="»"/>
              <a:tabLst/>
              <a:def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2400" dirty="0" smtClean="0"/>
          </a:p>
          <a:p>
            <a:r>
              <a:rPr lang="en-US" sz="2400" dirty="0" smtClean="0"/>
              <a:t>Talk</a:t>
            </a:r>
          </a:p>
          <a:p>
            <a:r>
              <a:rPr lang="en-US" sz="2400" dirty="0" smtClean="0"/>
              <a:t>Switch pilot as much as possible</a:t>
            </a:r>
          </a:p>
          <a:p>
            <a:r>
              <a:rPr lang="en-US" sz="2400" dirty="0" smtClean="0"/>
              <a:t>(Listen)</a:t>
            </a:r>
          </a:p>
          <a:p>
            <a:endParaRPr lang="en-US" sz="2400" dirty="0" smtClean="0"/>
          </a:p>
          <a:p>
            <a:endParaRPr lang="en-US" sz="2000" dirty="0"/>
          </a:p>
        </p:txBody>
      </p:sp>
      <p:pic>
        <p:nvPicPr>
          <p:cNvPr id="9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4761" y="4375012"/>
            <a:ext cx="2587479" cy="1142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019055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1331640" y="980728"/>
            <a:ext cx="5940152" cy="599478"/>
          </a:xfrm>
        </p:spPr>
        <p:txBody>
          <a:bodyPr/>
          <a:lstStyle/>
          <a:p>
            <a:r>
              <a:rPr lang="en-US" sz="3600" dirty="0" smtClean="0"/>
              <a:t>Conway’s Game Of Life!</a:t>
            </a:r>
            <a:endParaRPr lang="en-US" sz="2400" dirty="0"/>
          </a:p>
        </p:txBody>
      </p:sp>
      <p:sp>
        <p:nvSpPr>
          <p:cNvPr id="8" name="AutoShape 10" descr="data:image/jpeg;base64,/9j/4AAQSkZJRgABAQAAAQABAAD/2wCEAAkGBhQSEBQUExMWFRUVFRgaGBgXFhoeFxoXGhkbFxoYHxgcHDIeGBkjGxgeHy8gIycpLSwvGB8yNjIqNiYtLCoBCQoKDgwOGg8PGi8kHyUsKSwpLCwsLCwqLCwsLCwsLCwsLCwsLCwsLCwsLCwpLCwsLCwsLCwsLCwpLCwsLCwsLP/AABEIAKgBLAMBIgACEQEDEQH/xAAcAAACAgMBAQAAAAAAAAAAAAAEBQMGAAECBwj/xAA/EAACAgEDAwIEBAQCCQUAAwABAgMREgAEIQUiMRNBBjJRYSNCcZEUUoGhFTNTYnKCscHR4fAHFiRD8WNzsv/EABoBAAMBAQEBAAAAAAAAAAAAAAECAwAEBQb/xAAuEQACAgEDAwIFAwUBAAAAAAAAAQIRIQMSMRNBUQQiBWFxgaEyUpEjM0LR8BX/2gAMAwEAAhEDEQA/APTxreuc9Znrus4aOtZrnPWZa1mo6rWVrnPWZ61mo6rWtc56zPRsO03WsrXOetepzrWaiUPrPU1HnrRbQwNklz1sHUGesz0KDZNnrRbUOes9TQoNkutYjUfqa0W1sgJeNby1EG1megwo7L6jMut3pZ1WckBEJzLDwa8FbF/odBtIKyHPJqJn1R91NKvP8S/kihI1+/t9ARWmfw91tR6gll/MAob2AHPtwP10LHofTtxpN1hzhXNZD3seL40x3O/DBSrAg3z7HVf6vugPOI5Py37Cufprn1E2ysHRB0Nb3Uf2yb9lP/XV19Q6qnw3F3LKObLJ4aqADEilNmlPF39tN95upAeMlGfP4RrEFwRkTwDh83nuGjCaiqZpR3O0NQ51mWqTvuvTKHCyOCIyQQmQyJEakn2pmBr3rXW867KudO5xikY0gY9qkjz47q/U0NP1UL02XO9Zqi7rdM7wh2LEfNwT2imfgEAcA8nx7aBhndUgYM4lcKAQHbkj2iLVxfg+NbqA6bPRDz9TqTbpftz7cf8ALVFl+I5gjuJWoyOF7fy5lV7a54H9ddp8R7iPNjKwKIgsoF7sAzHEggctX9NHqYB0y8bi1UsylQOSxHsOdJx1qBiAJFJJqvezqsr8S7icKsk5dWSRmX0wnaWEaDwLFpJz75fTS/a7weUK36qKhCE0Rk7HPwTin9Mh9tCOpRpadnoQW/GuaHvf7aru038rSKuZq+eB48/TToufrq6lZFxoUjrMv87fudZ/jEv87fvoQqv1P7f99Zx/4dWs5NzC/wDFpf52/fWv8Wl/nb9zobiuP+f/AE10v/nGsbcyf/Fpf9I37nWz1OX/AEjfudCmRR7/APDWerfgX/XWBuYT/icv+kb9zrP8Sl/nb9zodSx9q116TfXQNuZOOpy/6Rv31v8AxOX/AEjfvqD0T9dbCH/81jbmFL1J/d3/AHB/trn/ABGX/St/5/XUSbNjqZNl9ToWbczX+JS/6Q66/wATk/0jf21MuyX3BOpY9jfhf7aXcg3IGHUpf52/tqVeoyV8zX/TR8XS74ofsf8AkNF/4RiOSv6ENf8A/m9K5odKQqG6lPuf7f8ATU8Jmb83/D/pouRlS+5bAugoJr9DrJurqg7nUeDQHJ8kcKLPANaR6hVRkztNlLV+p/Sv+uu1Wvmka/YAeT9PGg//AHRAcR3MSRQC1ZNFQcyBz/T76HHV2MsiRgPHVEhEUEEmlXnnLIfN4rnybm5t8HRHS/cNttOr+7eavG7P0HP20t/EaV/TicLGSQ7ISS1A0ADybH19h4vRkvWpMBjzcYAPBCkAksFwojIY+/t7aE3PxNIIo4y6lpFAD+qis1i+OKDVXND5hXPhHKy+xIUdW6bIioDChdaIYXkRdnJb5u+fP9tAnee8qqMSOwg/JzlRsEefYef00/XdbgyZCTGRSkOJlyUue7vNAKxQBuKsMCK4Jd7D4fIUJKIzEQ5apHMgcmzUhrsoV/XSbmHakUs9eLRx4JGtKcxTcEWbsLXP09qPOlHWt9k1dpPd8pU+T/qk/wB6Or31b4eSIB4ZsXxJQZVkByeSe+rFj76qm7k3BYmTI/UqiK3HsH9OxRH/AB0N1A22HfD3T/w4lkQglXsGPnFiyj/678SDjKh71oqbftXGQDoS1xuoIIVgLvEG5Tx5NN/KdJl69HGKeOZyBeRxkOYYPTWAw7lWjZrjwBrn+Niz7KGMKqowZDiZD+UnGqjThRY4s9wGlu8jJVgAnGUrGvLwpffQFtM3I7R/lj9xf0I+9fOaSiOFjTkt+eVSeBxeCNR/760z2wsEfiSsSM7FIqJfGIv1GofY+44gi2hTtlWVWMgNNkpIVHAsMBwfUP619tOZk3VpVaR7I7YXA5aspSIBwv8A/b5131GdRLFZ7Yg0h7iP8pTILrzyv6aWbeQh8KIzkiA7jfaS1Ae9uEFasG0+At+8kn4TIGTENJIighpELcAlvkBHIHn9sZindxD09vBdZGND3H3oHn5j58+db3u7B27MpJ9aRmWjZPqOSoF/YgAf0Grts/8A0vdWWSWdc1s3ZCiwRWOIJAvyHF17al3PwPAkSh9zMqqAp/hYyrEWBWRzmr64sOLvTInZTQrRh1c90ccafOG+WMMxPupzZuDXgag6Oe2O3J4kkILggZsIl49uImP+8dXuH4K6TtCCYTZB5llkYEe9jLH+2nW2i2rRlYEiAWl/CRBiV5xscgi/H31qNZ5t1HdyxJmgdfqy5ChX8w8A1rafFe6of/HPIv8AypOR9dWmLqe4V8GCOxDUzHt7Sq8sq9oJewCLpGJ8Xo+DrsxsGACjVidMTwDYyo1zXIHIOqZ7Mk6fYrQQV7frraD6G9No9ov0r+mpl23+rx9a107jzRONqT7H99SfwJ+n76Zkr9f212P00NwBbHsP/K1Muy/8rRwiv8xGpPTUef7/APc6G4NC70K12Nmx8D99MA4Hj+2tGcD/AL624NAqdNPvWpl2QHvrZ3A+v7DWhuSTwvH1P/TQsOCRNsPf/wA+mpPSXXHqhjV1XJUcfUDzzXB/bUsZA0ljGomU8BTwffRMUxU8Af11rbRlrth54oHx/wBdMdp0cH8xqz7f1vStlYxb4AN51JwjNkRSk8ceBf2+n11Xd98VIAxRizGscqAJ4sgfMfNfqPvzY/i7py/w2I/nQtzziDzx7nmxfuBqjHpLKmDyI8lIzY2AqsoJcXf5QBX0x45NRlPODu0tGNXIi3HUZJGBDHLAjj2UAkg15N354HnU0m4yA9OIytHTSIfAUBD2kn2Yn7gHz41xt9iwZC1sFyzVrLKoJS29zYxb2r9edA9b6qPT9NFDEf5jAWKPgAkVwoy/ViB7abS097t8Lkrq6iglGKy+Bu9vI8e277QqWN4pxkTTElT2lQB51Jt+ott1WqHpgBmkNhghAON3QyrgAVR+1J+lbv0FpoFFtTKXtWS6Vr/LICx55uvqNM32LAZmUIj0CrPdLYtMFFg4k3S/YnSyneFwNGGblyWBJi7gzuIs1KNx4s8eeDYy82RXkaA+It3DEsTRiKR45UlpiK5UhEq8rqieOOONB7qHBg24f1UclVMYGRZQxTOMXQAUm65HkeRrvq/RYVRV26uVWNuOW7gitWQ/lZxkPfyfB0kngLirqw7oHWQcJvSFygk93B9P1LaNWNfmxs1yovTodXikhkdnEhvBVCmwWtVIWuQzWQxFfpzrzxNvPFucZSqQnPC5F9MlUVXAdgvulkcAYjzwdPU6Tutqcty6SpKAkeMb130wX8MYggISC3F0L0sXboVpVZdd103bNkWxOBGTOeA2NA2eMq8j78+dRbTpykI6qrKQC3cCwLXlRHvyPFDg6856A8IkMMhLKwUj1PZiMglnzVceaP8ATV66Jto0nQKwB5NBvYX9+RZ8aarQltCL4j6QnLRgurMRiEKspBORNDkXzf0x/XVe3XTJArExlsPygH1PNAVVjm7B+l/S/VfiPZJLEuURmCMJAqsAS6kY8/Xmx7duhN/08SUscBUqxt+0Hniw93Xk/wBRxpZKsjrJ5DuZWdGADq5awe0eLHJvz8v99GtuDKg9WMFlrJ+TkzEAeAcB54HkD60NXLr3wdizEeo/vmqgUPuAbc/UgA6UD4aVwKkWzVUwNEGzYqwKBN1rOUkakKR1ASbpIpNtIgy9NXKtIlMTVA2RZoHjj9ORdfQ28s0SbZdxAWdTnC0ixUp9RkZcgqsfB7SeaOq1telHNXTck+m/ivcc8XxX3+/jTX4Y3A2USoxWZxLI7yF1B7gAFv6AVx/q6MWJK2WqbpMwkdk9Nkw7FYMXLBfDNkKBP2Ogx1TcRtT7L8ygGOQH5uLplFAHzzrW6+PUWPIgJxdZqeAa/Kftx4/XVa6r8ZTfwzzq0Yj8gE2zEyIlYKbQGye7kBW8jnVExKLfu+vRqAJc4siVyZLCnBnuwSAAqk8/TS/dpuVkpFSRSwonKPisibOV8fQeSB9aR/BPxIN5OqyQsPVuiguH8MFqYs1hyCfAqgBr1E6zb7BVd0UaPcTlmB28hxCm0dGQk5DEFipJGPPHuNO4vhrNQzyzIxAJVWUBftQHtpyYV44HB+mqr1j4tmg3EkbCJFBHpl+WdCikvw4oZ5rRH5b99NbaE25YjMwP5v2Ouowfqf3/AO+u02g+p1J6Z9gdXPKo3HCPcgakX0x5cGz9H4/YajG1vz/x1PHtvYDn99axkSwrB25P5v2YHjz7ke49tbk9JOfTXEmhkXs/fyNRQuAa9Mv/AL1f8tE76JJACY1Rqq1bnjxfHOptlVlYOoeowgikBI/1aH6nuPGgNwXkPexq+F9h+wA1NBGFUDk0PNCz9zXF66L631M8qmDLAB7f21jCh513/Fgsy5C1xse4y+X99Y0YJB54v9KPm/2/to2I0RKx/XUsTtfGpodoxIuh3G+DyOaH6+D/AEOiIZFjVhYaRb4vnwXAr2OP20rkkVhoykF7PasR3MaYciz4+p+2hd78WGIyn02kCggYcm0ieZrHAFhQAbqyB71qp/EPxDLnIUfAY4cA5BopmHHI7csrNj8gvuF8R9ZznWdQzYRkypQVSPx0XFiQrGnRTZ4pOdRc7PRhoqKHsfV1LSrMyhHACE85PWJGC8gZKDRqy3Gqxv8AbAOsmK04xLBu4lA0TBlN5JSrV2T47SNID1OJZVaN5W26SgiF4lcoFPcUnkk9UOcWa+AMjxWh9x1hpS04UpGTimTH1aByJIHaoLm/N8WBxpNrb5LRlFYLT8M7YEzSRljLOJFdWshsgXUeT3DwScapq86i6dINwJVJCYSxoKFM7G+wBe7tUk3XGZrxpZ6LwDEgUwHg8AMHBkkH53ZgW8BRwKqxqTpu33ErSKWyzEZDiyplVGcs4uwAGBBHHK8k86Ltu2Uwlxz+CN+mZVzShsVy7i3qfnI8AcAggm/W+miR0thHEyP6kfqiORcLbKQBVPiqBDZck2fA131/4Y3EEIznhYjwkUb5KwQ4qH4NdoX6DLwebTwTNGDHGzAsGaQnub2fxxXK2PJ81lofVFJxiq2yvzhjBOsSRoY3i5YoQceAoNI2dcEEk+3zkX5OmfR+vOIyodGzGbBRYyZWUlSo8UIi3dxbV5pVPT0YKTkVRWNCzi8ZAkb/AFfOKlQODlRuiO9rLE7qjYkAWvLKvFLQxOI7R4rjitK5pEmk78B8vTzv4kaay0Em4Y80DE0ocAYijz2L55H30/2iRwNBtm9IIUPOUvrGY40Q9GPEkntAr9KrSDp3UYlcAxRrCqkExRWrElZArY/5ZBAIY2DyTV6n6pIWYNI8SsncFBQhhHk1lzRRfAzF0L+h0YZW6/sTks0l9y2QfD01IwjVQoqWNmuQMaYEMrY0FNEff7DVe3fTt4cQFMbqMWPaQWCg5AZd0ZPA8HtP1BOT/GssPqHbSoxd8mz7rxiwBX/WIiXiwOH9/MvwR8fHc22+VQzv6alExVQFRwWtr7vU8/Sv11RxQm9qrOOn9N3+3libONkYrmMzlRVQz8ikxYZBRd0eedHx7o7zcSLUsEoRlSVouMVYgMrFaosVOJHP3AOrtuNtHRBFcUD/AGFfeyK1VOh9K/gIu9jIzNEAjOcY1oGUqCaCqWIsV4Ue3Kbc4KKSabfImmnaHcXOyzN6YQrCmKqWOLE/ijvOZqvlBHmtNukRxfg4rIkjumJkIza1f1CwBrwhb/f+ngWfouzO9km/jJYzEQf83sVitt3EH8pUVY8nydQ9c+KfRlRoQrKA5DjEh2urZlGYYAlOasH6WdIlV7mByvgYfE/pbeAGeQRZmlwUEMWNkBOCW9z+hOvK54c5bjlJFcXaknx4uh7f99WCTrn8SdrBk0ywmNRGzqDI6Kq5B2qiSDyTzlqvQdOka5YxG699wMSSUzeuCKxCEe55vjQw+APJYI+noI1tiWAo0gAseADZ/c6FPREYkEsC30Pn9vHJ86D3/VnYG6X/AGCCAAOPH09h9tQ9I6s0YExlBGJAUk52bNkVXHH99LkGCwxbGbaRyRQP6Ydy7c4vdKpAf8opKsUeTR0w+Bet7oNHJJuHeF1ZysickAcAOSAGY40Ca83WlMXxGJIWBW2YKquG8FjjyPJq7ONa5XfPCtxvWC9qnjwOAftwBzxprBSZ630br/8AEyNgn4a5DO1YFlYqQCprmuP0OmkuyRzbIrH6lQT/AH14x0z4xZFSJZ3GCgVdWAPm+/1/rpjuf/ULfIcYsZFr5nxu/fyQf7adaqF2lkRTrpiF8n+mhdl8RPLGrxKqK6gjsphfsfuPGsWE+WOuqzymicbxfZcv1/7aPfqbkARqsX1Nc/0FV+96XgAeK1HHugzOlm0xvg13CwR9R5H9DofUaLaNb53RbQeo+a3ZrtLDM8e+N0PrWpX3IAJ8Ackn2A8knWpGABJPABJ/QcnWlcMvFMGH1sEH/iNYxqfdYLk142Lr2sgWfsLsn6aW9d3xwVUPD3bh1AVQVWTk+4RmPj8uiN1ljHgbT1Aj13ELRQ1Rvtar9xX20N0rpJdcZSykGUEAgq4kAbMEDsIcmrAPHjkaVyLQh3DpOkmRTzTHEZAUaDA0f6X++nKdMUowdqUjGxZ5bt8VzydAdT352sMbUCPWhjZmulRnCsx+vHv7XftqrDrU8kMzQRBwjrgLLd08gmBBschlUCyB3i6qyjkdGnoXyHzT7hY5TGVcxbqoiXoFXhCcjkkLLIbBB8E/TUHTmlUuoYTToWd3LIcCoVAoQlSB6c5b/dFnmtRdOjlj2k8U/YryRIkfBYAiM5JjRYeLAPs3gjQHT94E3jCZgkKqCeQSzSbeNCcBeBpx5+vAvwp11SYftFkaRYSYyFk3GS2rXHKySqxIFEF45VoeAV+41Nuumw7dM2IgEkckHaQDi5APaSo7WGV88XojbfG8EUasE/GCJE9lRkkbNh3FgoJyJAJABaiR5K7fdH/i/UZD6hYGVVZpBaSDJSikFEJwuuO6x7HQajy1kyTbKn1CKSCVl/h2oeFLoRQGRc+ymvr48+DoAdXcl5fSjdTlIVMoDKgUMBRWyMSAKuyrV4Oj9wsksrq1qVFsK/OmBwVUB7balJBAo34vXG8gWR2yXOmxkBAuwo5LDi2YO3B+nFadSN0reCfpOxkzUzGJU4kdvUJHpu1NZw7GUd3PsQfY6ZpvdsriTbGRGVwsIc2tFsG7o7BHpgAZcg2OPGk525uEkWFvsAt+blbGNVrEl2pauybJFASbaaL8FZS4RRHGpyHaMlXL5eALYVzdqdK7aG09unJOQDud80m9BcBzmFoEFGsgAWSBiTQs1X9NN/SC+ukZV2OdJahiloF+WiT3MR7UAOa0qnhj20skkczPJtnZ0VomCu0UmPnwyhuDj99Ptr/6rPNtJVmgHqlGUYFgCxzU8UcSKFcm78jSw05JHV631UNWacPAJ/iMUm4U4EFlUZDIIWMjqvN2qqfAHFA83pLueqNj2k0z/h2gyGLANkxBL2jEAgg2DfNab7DYRNGHMuSh6sIwuvSLAdh7yXontN1wfebZ9MO6MKw4k5YRiRbCssPrHkLweLGRN3fHJ0O+TiK/N1YF5vxWxKgqrKaaTnziK7QBVg3fnjR3SN8Wj9SzmTjS2EFHuQgKeDHjYBPzACrJFzb4J2W0hD7vbszmJmOEsgJdcbQKZAuRJ9uONdSfBKTuDt849qSEApi6MpcyMQ1mmyAsHjEfpp6VUjRk07fAjWOFAuSMQRiWsFWXJCuSNQADSsxa+Bfmq0z6K6lZY5EU2E/GxXIMFMjkgg+a9MccYgcedLd506dGo16eMiqO0jtYQIWNUmagNdcWASC2m3UumJHtTLHTeiuGamRVLg3eD2ZKNuWBtjzQA0sU+Cs3GsZHvwt1YOJBJK1wenSuxA4SOQ815BKobHmMn3J0l631R0SMNIw3A255BZ6xaR3a8QMHCgZGuCboA6D2MsX4PcI1jnWR3JUjEUkUbOxBWMBODYs2fc6L6z0KVix4CCFRnlG2WaIHk/8A5CAhYfdv66z4onyyq7naGS4lQBpvT5DCyy2oUm/Jri+fb31AkjplEtPk/hCwINefHsLF8Hz9tWmHaFuobSJz6bTGRo1QFXjj9OULYPK2ic/cEe2g22rKQ6PEyhmZh5dI8QaFLQLWzMTbfKCOdIos21CjZdPUZSq3KNZWqxAkeiT+a8bGPi+dHRbVGWMqXJl8L8pXH8M5kfdCPHkH66j6RvjHCzo8YWRochJ8+JYOVC0aQmyTx+hvTPf9WikneTcOkMjoCgZ6C2BVUBlS+3Fk6bamgJ1yJtz0VQ+WLBak5BDHJVJAoXQ+Uk14NDm6StgxBCYHFQ1tkPUru4Hy2bNNzyPGnu3M00jpEnrDkMQoZSCMvJ4YnzV2a8EaGUyRMXl283IKC4S0Q59saxNjmvp+wg8ZRpU+CpQ9SIla3IX2H3J+/ihr0Dp8oGwkidFZpSjBjIRQA4BFUTTH3I7h9NVH/wBoktykZB9/UcH9KP8A1026rIR3t2UVFA5DiiTZN3QBrxwBrTkuYiJMhfYytkyJGyJ5F2QKFCuP/PbXWy2HU5wz7fZsY8iAQkZFjg0ZBZH6Ei7970J0lX9WUqWIe6LEg0fHvxxr2D4f6nHBtoo1kelUfQ19R41ya+u9FWo2V0nK/a6NQQBRSih9tc73demmdFgGXKvIUkKW/wB28j9gda6XI/op6wqXEZ1RGQ8kH6e/jRLNftr1rPF7mWNRk91+5Fft/wDupEgvzoiPaj2s/wDD9tKFIWbsuXjTEtHKWSQgWEtGZSa/KcSv6sv1002HRvTRVzJCqFFkk0BQsnm69yb0SNuv0Gku628pn3aAyAPt0eJsSYwxLK6eMbOK8E8Bj4uyC8YqsnUfQD6LWfxfUjLMPMgidVV7AAzaJQW482PAFWKRo0jaQmlUFjwfAFnirJr2A1WJN8Y22UskqLhC38SGfHj0siQnuSyXj7BSR41V+ufHDPI0sJlSCTbKzWFrFlHgWGDh3C2GI5aufCnVGLYy+Netod2kaXxE6A5j0z6iKUYAeTmyfMPC2OL0n+DviFFkWJw0pzPqYl1yxvFaJCZAgAZEGkJu24T9Xm9ZtqfT9IvtWQAsFcTJlHFkZAClMqFSWr2Hitbn6NI8O5waNDDIHY5sZCuHpSsGUlsFZSW8iyTdVal6pUGbrrrb2KYsoilR45qYFhUivEqKx/IAUJJyBZbx5ICHedRkWZg7ktjeQILepTFOCKK5gMaAsi7vnUhT0jMzELUDiP1Q47ezFY6Fepmh+QkVldUdddZRo5FvuCfNkSRLEFr1fxK8hfHHlqsFSRT3WuBk0o/Mzbz1HIwjtlVc1VWR1LteAAr8MuxITg8VZ1YOn/EboSVeRSpCo4BNxmTJqWrdQ1D/AHQKpq1UJdw4zU4liM3BQePw3plbsKqysQKK8tiFB5Z9PkJDSPkWwc3HRN4t6eZemkfIljbse7trwC8BXuwWDrPSz/Hum22ob1GJZ1rLFir5AepWGZyPtf01L8L/AA+snqmWRgYPRzCkBs8EtjSmzbNyTZKkke+q6vW5YgQrGP0oiqqDUoDDJFIFAMvoqSVskHg2ObbD1fdepP8Aw6tNCLLUCxkIABKNd3jkL92APubMavIs/asB3XtjAJlhykWX0gy4oXdTK6xZX8qq2A8/Q+5APkvU5n9QKiyFVN0DTWhAJy57sqN+3HA516b8X9PlZ4p1FsFGaLVn0Czx2GUH5mDFfluMc3zqqfF3w9LuI7hVXG3GUvdyWkPzKoNdqim4BpAea4MX2FnwmKJeiuV9T8QXC7HvuR2CNK134BKmx54PGhtk3B9RJBkKIWrC2AGGRrI4P5+/sdQs+7iQxpNlEwaMsh/DoqS4tlDBcWJJqq9+Nc9I+JHhVYmClAaBxBZRbMKNiwGkc8/zn24074JxlUrGPTN086MqcHKBVDX6ad5BZ2IpVOCWzWTVEnwbF8N/EkcE0Qdcyh9QyKWpWZBC0oWPiUsGK4jwEFZG9Vb4f6gzMIZZWSIuC6gnE4AlSQBbKDdj73550w6P1l52ZSMUaNsmIY0a7Bjl3U35j8wNHk8o1WSikpYZ7Xvkg3xUeorNt5gOLwMnBMZPIY9oteSOLA0D0zrboJLhDom5SIPTMXZ2HeAOKOZxcCj22RyR5p03dBZ7iZizOxshAnrrI8tCzQDAIC8bCgvuLOitv8Qgu5bAhJ/VUSAAGcJ8pPCRuokrkVYNCxwg+3sy8ybs/wAdCcysSybhGOR5czLuMaAo8Ko8jHE/prnqI28kqQo7VMrSsJCTSxth2gg9xYEUK4LEcAjVTj3AZMXixkO3LmRhciupjODWAz4DgVxcrXRFnmHf97bpQ0W4jkqKgCJAMm9Jq4h7COOB+JRBsHTKnyJtayh3/wCnkG2bayvuWS5JJSVJqMRx/hkUTTiwxyq6Kg+Bq/8ATo4/4YCB8kC9pBLUCMgODY4I4sHnXms3WjJstjCXSJZUHqNlGHMzcucSKHcxoe5YkihqxfC8kxhlWKmhfPBmKmgYkSIqq45IMKIyWyW54Fo6WQ7Wyv8Aw503cPM27khIsSCIvMQ+BXLMee3uKnwafi71Inw4rg1IYpppWjWMsuILLnI6j8i/mx4N+RZ1YW+G551haaOFJAHWQWGRFLGii4m3KKoyJtQ8lHnS3qHRpEG32rwxS7eFo7L2fWW7d3HPNjIgAksa8aW48Io3KTtiLc/BaySkLNDHIqk/w54d8LS1Jk7eFs9oAsDjSjqm1WSWRD8ykdp+pNcMPp4u64OrbL13c7qKPe9Pizji3EpxoKX/AA2jFlmAESg0eLtAa1fJkh3O19aVBXpljwMlxBsBhdEG/BrTtWQPGJNq0FvG4j9PuFOMhgMSavuNg+x4OrB0vf7ncuI19KVQKYOny2Ls0PPvq19K+HpYURpVWRCciMjSZ9xLLib5PLDwNFQ/DEaGOYIcgxPabA5Iv61Q8eNLWDWU5Pg3cAlWRHW/mBpq/Q/8NI5unIGCgkOxVxmeCoAKsB7CqHj7eeNeo9S2ySxyCJ2DtS9rV5IBPJo0CTQ+/vrzv462bOzvH2x2YgxvjABvp4yFUDyV+ulkqyg3YQ3w6VQOSoJFgCgCPY3oKuBbYmjwWA8Ej6/bQnRdg27VL9VSkeC3mvcS1sGUUQt/Kf5vfU8G43aAqXmSiaUJlQ9ucPNckfUnWjHuxWy7xrfvotEGounSRyIrobUj+o+xBFqw9wRY0eq66jzVExFH01J48D9tYkZPgaG6l1yLbNGJQfxA2JAGNgEhTzdsQFAANlgPOg2WhCwnpm4WeMSRsCrfuCPII9iPcaS/FnxG+xlyOPpeiS1qeHshDfgFmsAEc4HXnI61uWimEUvpIkonC5qApkJVKYfmWSMkjJQbJxrgMOufHj7mLcwsuJkYekUCkqpssr3w3KHkEkgiglHSnStOngtE/WP4np0e4OIV45Y5RJ2lpPSeMqAKY5M1nBhwOPrqizdMUtIFiEeGA5kyRVLUTZI9SlQ8fa/5dG9N6IN9t9r6EhCQrHFuVBTlpHhSQhhIXBJjDC1AJFjydKd06ruwuBxIdVBIEhAciNyrAYhuSMi3aSe0aDLQRN6yLDYhI9QzANgDX4kRjay1FrhIvK1s91+ROnTOF3Kq8io0SgyKeQGdXUSW2TENaUvnNya51Pu0YbHb4yBkZ3skxri4YkgizZBfiifJ4B4A/Stm8hkVZACkLOyNGzKcGph6a+eVUlqsWPvrZHwa3ziRIrxB7VHy+ljGQoUHEEAZMSfb1D55Jmh6wyblBgSPrO7KqH0wgQuoPaCCABfmuSSddb/ZlEeLBFKOrj0x/wDWUX1BRkoMAhBFZEp48krpRuSZJJldY7OQU1wiswvPIg4qAAR+UD20Ld2Ua0nBJWpd+KGcMBuOb0w0MilSWVm+VSuWR7+aRgQRfF8HRHSd2rko4haQoo9TJUIPqWxvlWtBeSjgWeRyLFtN/tNntA0SYyTQxsAJlZw8q0rhOUDUoIGJXtFAmxrXWPjliZikZWMxhS2N26uyOoeNWxVlFgMwu1o8nWrIq1JOKTK4+3e3AjIU5r+ICqlkGPyADGigWyD4I8HXEXUkjhkWeCyNr2DAtiGkxtQw7ARl8vA4Nn2Ih2bJJt4payWX/MDLIBFIFoBWUqQFZsiR7P4+YiT7g+pMIZGZs5IhaKHkxYAH1CpByLIbsGgSTXI1UC2y7xdflXa9NRVBEtK2WOLKyFUUkng2yrR5sE1xRqm46cYS6cySyAxkyEMsbqWjdlQjFgzE2GuwSOL0p6VuiYDODNEqPCqkG+/H8QBjygMbDEe4I57dEx/FEczi/VzVTleI7r7iWY8sSf11rafA+np6coyt57X9RH1xGiB26kGOw+Vd5JjVD3Xyhx8H/mdL5OhN6ayIcuxnIPBAUgUP5idWLqO6gaQfhu7VQCyKW4HjEG7r20u6h1BcYgiSQ40y+orU4ZxRBAsVywI84kea0252sA6WlGErkm6xV+V8kuLAtpHJECSKc5RkG/VAIXjHyAbC/XytVemLdAwPe5VaKnBTJnJTMyKIzynbRs/cjyAX0dY0/ElUM0cX8QCpag9s8YYmmoKihV7gTKCb1F0vp4EDZFzKpe4ngLRECPOjIBauwDdysCo/2jqsIbld0c+EGxQrMaLvG0W3iLESIrM8liRaoYIGIWj47vOeuoNs38SYM09ISJeKogWjkKo1ZwNsxqr5Hvrp27XcFHKj1I7YMWelDEooruMpsHlQrEvyTiDqPcbKNymRRoI4EEg4zVmV5FDMnEpLqWsZCl8CzqL9rpleVyMZdxGjHECVg57ZEqFcFDsOSAjdqmyT4JBGdaD2O8YRRembCxZhhEvJ5dlAFFwrOIihIBxY15szb9Qgk3ZfKPCI+XQoZC4K0UN2gVSCCK5UWND9I6QZ0Kx3NI7I0K2vyCXkEo1KQgZitH5iaOlk03gdXQz6ZvWEjMXVUVAqHEFnjlaNsB8wUM4KWWIpwFC0tMPhn4wO23EUcuCxSs4BXhc2Kngex9RmLCq7gQfYC73fGANGkapHSeoHGYtXZ40IZqEkbVz3Z2ee3gT4T3PpujzK7LKBEHW0LNMqMFLMe6OwCGFLbiguR0jTayG0uD29Tf8AYgiufeiD7f359tB9agDRE/mUWv8AtAeP0OlvRPiSKRJDkqrG+J7gQpoHEtVZDIce11qbdbwSA04FqwFYkgkcEWcSb55se2p221HgXbWRbsN3hE0ccaLlkz+QCSS7kAA93k+9k6S/CG+jR5toJA8BkZX/ABgXLnAuFFBsBVcAeTdtZ1ZUgUng0R4Ni7B4PbwOKPtzfA086ZMDwwXP60Lb78Dzqrl7tpNxxaCqBOPfX2JH9wb0snWHblmkZQCPB5ckHkgDmrr7abhDndflofuSf34/bUG92UUwHqKHC8j6j9ua48e9aoiB53u4USb+I2O6RQKMkchJbAfNQbuurq/H1rjSqPqLSQ7aJlWMHcqWOTAvTF2yIII+bz9SPNVq3dS9TcsySQhFmlSONDRkMYKtMxYNS2ikYjwRySTQq3UPh/19zOEIRIbxGTcsfmGd3+554GjJJDcD2FUBZlZ+LBjDHG+OQPJ/XzqbbzKgqpASbORBN0BfcCa4+uqj09WglH8RFGVJ4RlJk+xF8f1P769A2nW45EDKhrx3LRH2o+36caigsrnwbs5NrB6e5xzytcPBUi6P+sCSL9wE+lCyv1CJGRXaNDJeORonEW1Enkgc1rieIBHJOChGJayMRjy3H0HPGvIOtDdTGGCamm9NaEgPcU9R7YjtAeInigzBUu2GWrWQjHdlnpnwj1d2aTbbl19eOR1UWgkZAA3KrwWCspLAKCGHHk6i+Ofh4b7bB4GDSxMyoyEGiWCv491dBx5FEfpR4opW3G1DuwmQKFkIdZGjCEohSvqmHqVmQwJvGw56Z1CeCPqZBeM5LJDI6ktIxObFldflAGLGr/ENHhdLyX2UxV8H9CbdQOE7GBMcgMalSRTK6vVKeczYU2f3g690k7GSNfSrOgpD5CTCu/EilOUl3xWRBFeWew6h/wDMEm1SWCHdgdkbQ90lDuGRaNCS4v3o+xGrf8Z7JDshJPHCDEysBNJcYs4kMa7zR4XmyBoNsssStnnPRJ22zJJIrdkzJIWLUVEazKuApSp4+Y33EixxpR1rrLjf/wARtPSsMPTK92NY2imgrLk5UVVhq8jje9ZhFCaCh1fAIgvjH1Bxxw6VweKAF0dQwSAieSO2WMxu4NgW6uj1VEKSQf8Ac5JuzXSklLLF1I2rRZf/AH9DMjmXaNK6jwcSqSc0SxFiiL8A8aQbbbGOgsoWV4+1ispkkWYiPFirCjZ8gHnKzxRabtpd105ZmjJxxUSKVdTjaySvGyAqw9Pgo3/2fbVegQYP6gyURlaq6YKQOQT3gOwUnhCycEeNPzd/ahk49o15yG9Mkl3249MLk5QKcvTUIEVwfPlu5TyC5IaiPIY/D00kdpJ2w7gyRzJKwC3iaYsB2kspQPXcGA5oaS7TeTYtEQY45Emb0+LsrmXf8xNIFDMPrQBGmMe2PpxMxyDZDLtyzZ3aig5x7gB+w540q1OllK7waEY60+m3WLRv4hatwY4wewCNFjjcsqwMwVASC1jIAvVMReXnQTThMY42uNlaYhAAkcmDSAhSuXEUSNiWpiL50b0/qypT2qtKcBI4yIAIckH5s8VoEc2eOaGgmWVxB6MiqXTEqeIwYyUNccqAxYkmwD9uZrU6mao6NX0/Rltu+CXpPWZpAWUGhIGEhZiVkxVFHqVR5NhOOGa7A0d02MSTxxjsjENn8qo07j12Wl+XE2Aa+QAeToKXaEqVVZvSaRmmLtGLKA2+EfFE8fmHA96Ot7Do77gSCeT0pVaKJlkZKlICVbGQPl4PGVVQ9gHOd+CTYbgAwhS3pybhm+aQ20bB4xjHLiHRQBnQ+axeJpluOrvvPTjhUeskoRHdIhA4ckAP+Fziii+R70DYGlGxiYNGHchY2ZfwzgSHvLvC/Me6uD4486m2O0yaSOGMlwySxrZ4UBLYUQGYAtQN3R+oBXcrBXYN33Xpdn1Hcpt5FitlNRpG6onzCiynBAW8AAgVxwNJOt9Xn3UUrbm5ZY8ULYItXkS+IUE0FGNVxISfbVp2QU7ZZJXXlHd+xBJ+EBEM2r5RjZ9yQBdAgon2iTAO1hxMY5Fyq4wFkaiF7QxLCyGINe1AM5WwUksgvUemyRbYxtzLKNrDTkKY8F9Vh/LiAIxZJqybHI0rXdusKGGNkANsA34bkRC3NENZBLWKxyI1aN1vEidJYzGDA00wEsh4Mjmo0BFMDQJ9z9rJMXoXDHuJAAWdSFE/nJbUhEy7ivBDRilAFAAHRWpSrkZaSk8OgNyPXphLTkYshfwGQBqFgByvcaJBfkDxqTZNkc41xKRusORRYS4CsxK13O6S9vPdlyQAaI3WzcyMqp6iSqfUIIWJm9SSaNcwSA1xs5rzQXjUXUFhl2+3jhiWP1WlEchY5mSywJJAbFnYIvH1JHA0n0Gkq5AN7B+AoTFTIkSMfUpywzUtwQMTfOYPBADDnTCXdbhDEBGyXAYoVW8ikg9QOsii7dVL2eFsk1ydQdX63EHbJpFxUIuC42uJBTFlFgNZz8kSt9gOoIWO0k3FlfxlXbvkFQ2zK7EHiNAPF0MjQ8UTVIXdk3t+oBIWamUtt0Xljkxp4jNyCoLFyo59ru+NCSy5Sxicfw4lQJKQrHONVC5FeGQAooryLJsg8u5tiU2areZdIzEqD55ecXZwcmGZL+StmgdLv8UkdJ4z2MZIliydmQuJD6jmRgclGPuaA4o+SYuOb5DJSxXBGxdFn9aRwkR9IxjFsmyDRgUbZVWJO4qvIIu7Gpd/t44IY5Wj9SOTxIAo57rXAtlxg1miPvzrhoPUaQr5WLl4kEls5CAoQQzW5JL1kC58itQy9HMbQwg+pkiyO8RMhHBYKAEtfF1RJsXYFaCnQHDwBbXfpGcpVyUk0F80eQPmHjgWPOnXwt8RGLfJOqtguRCP9CMCPqCVLc88/bQP+FiRWlET4RyBBWbFLBP3YgUASf5hyNDDaqsyotBucqa8SF4BvwwyYEexBGi2qErsfTfS+px7mJZYmtT+4Pup+hGtwbZyX9QKcnJqie0cKLNflHivJOvAOm7t0fFZCtWD3NjbDHKgw5A5B/1R9NWzp3V23G7jdJHwSWFMbfxHgGsH5rALE1zzpHKuxuna5PTetQRLE0rop9FCUscKcaFfT2Gqr/hDxbGN82QumbkBSyO/cO1gQVNhGxrwD9dC9Z6285lh9LON5UW4wWkQEnJHA5BwFiv5T9Rdln6ltZUKt6qjxRTcJ54o9oNf20yyJOLhhlO3W68pKoDWCGUDG65u2Wr48H3++tRb7dRdqKuPse7kfXtPP66F+INzHFKsSMZUdQFc9pX7MaAJHjI/8tKTunHasppePav6GjY0lO6oB62rfcD299Vv4w6RCu3l3IVRJFHkhZmC5qxZBQ5ouxFDzlXvqly/EsW96Z6M83pbiJ0aJ/z5R9wZO4U2Ni7FEjVm+GviGDf7dtqWlDlCozI9RggAZ1mW1fyPPdyby86q1QsY9ysdQ6usmyj3DyF5nkaKY3RijUhqUoiubV14BJqV696sfxHvS/Snkf09wTGhT+HZlYIzYCUA3mVZgcSKJBBPnVN658NS7OHbKMXfbOZixjYM4Vg2fki1sRkeWAjv5BpEerzxqgil5x4jXFs3ZgPS9JfJBkN3fdmfmAGlLUmsYCtruXh2wdTLFJHuWbMoCpBUFWxdLEhMagNdc0QfOt734rn3SIHkeQlmjVOxh+IAotQoDseApNVya50u2CMVnjd7jaONnf1e0MrkgOWZQ95UQtmyAKJNcSdQIjk8oQzeVAUOSoBx8tIoGRZicS9+eW3yH4yND1hfTjSRRGVUoFAdmWaR5iWsyHO1KFgSaZiKXSnZloVnjdqXCwCynmw5agTZxSiRda52chZHU9tIG8HJgXTEkgc4kLRAF2ODqCWMRt+I62B8rEEsbalJDWoIC9x/n+lnW5wZvaO9vstxtw7ruhijBVgWSRlZ5EyCYJxkAWYkCrQ8g6wo7ONuu1EjHcSn1ZAyI8zWKrOqqqtsr8UTRAbpJ9XEhvQLkhowzAxqrFscmGQal5L2tHxfMkm43MqxL6zn1y0qxBSB6iWbDUAFGPzZEjEE8c6eDi1kzUrwPdj8HbhZA8sbYwIy9jI2ScoLUG/lJY/ZEAo+COpbRBIMExjIYYh8TCgkYWqlgRK5VlBsUFckkXpDD8V70EbV3c5Ni0ciq11+VieWQ+9tiQbNjQe4Mn4biIDGNV8XgFpmHaAaxYWPNNR50jafH5K1tfKb+RPLB686TFmb8UOAFohVVZJZZFWwi8pZVgRZON8Drd74Q+lFgWEEryAKoJSK8vJskG7YeL4J41NN0aXaSiJzHOkzgFQfxWQnGN8Caj7gD818LdUNCpHgscqxZwh5jlRyCjyshUWB4IDL7L48aFrsIrvOL8h2x2KSQTMv4ipKFU5CsVKyKqu1sGtnFsoVru78a2W5SKYhkctRkjGZUhzTQoyk2QlkEAg8tZPFD7Hp7vFxGkULqGEhoqzB2Z29RawVIlZcG8ZDwXGoOp7ZiJWZRapHJzioxkJKlRnTiqrHPx71esZulQVudqZNqkyEByzh1BW7XHtrhsx3GqquebLMJC8iGMo2MhXgliCB5yBAsEEMOL8gjRGz6o0W1FMGzlXI/KeY42rEMMyptcyGPBqhrIJ5hdyRoCWbmQfhRqSGYBbLp2hQTzkKI5s7bbyQynf4CY0eaKaSFpMckXvpiCR6khwX5QPUuhfggk+REJZYUijxJdS18HhixHN/7N83/TU3TJsCyZMLtgzks2ZVVLMoouQqmhxybF0LkChWZQrOWbtZO3mw2KyZZOVoeAFNe/nSWUqL7le3cLNI6+mWSwrM+V5oVEndfa2d/fu8V5d9W+ImklhEyMACS6JxiFHZgQvaqgquQ/Knn31Bvowq/hoGFBhGcmc5cBji/P8AtUSfrS0IP49TFSRnInJMGXIUlYkA2UkZ7K/rwKvVFkEXtuh3LupPxaiYYhDBeIwT0mRcUUlR2uSfqMC3NAqthvGbbGF8o2EqqXYglWkdmaw7KYipTJiLsE3Xza1tRMUjY3x7R3m7u/pvkvBaUNFdN5yBJ45yLpon3EvrPUKSepJlIBwQUBAUm3yUIWBPze2lwWW5q0dbgJBuzCIWklkDQ1atfqMBG8Ttfzg1X0f5jfDTqnR3hhhhnLxOEaT08R6eFsSoKg5PkVBp/BXtHDaVLvktZIY48omKxBo48WLSO6B4+RGUJZVYkEkjk1Wo99FLDnBm7kJyULvGWlcR1nXiolAb3oAVp6TJNtS7BA6oxDSSiV5YyrTFi+ca5dig1+GSOARiO43yNHdRd/Q3BQZmWnD+mFAZGQlRgSyquYKgHzbEnMDSr+GEMe6UoBI0vpFslXCIx3woLKYwVIPPPbZB8HEesXgeSPawWhxdlJZlxCYkgyFnCgF2NAAWSBjpaVjqToI226RVeVAxm3Kyqn4vfgiovAo1KJQVBagVJ88g66LDMduZAEkLsEcFvliUYJEMTiHBLDv9ifPsH1/p8yiIDamMq0ah2ezkVyUEAlUvhrSxRQGtEbbpMke5l24LkGYHllpiQDZINg5V9Rx+p0G8GwshvQ+jzIZmdWVkkJjGB9OyrKe2OzQlKsKIBw9stcdM7dxLNvIFmMmd+IwJKVlIYkUmClKsnleDzY0u5dtwUujwoOR4I9mNVRo+9EVwfGtP1VzKec1UgICQeSSKx5BvJua8AXqe51wS5yWLbdM20uxsi5ZVOLqlViBHI5KjFQGPCWcsTWV8GfAsmz2m1IaCU7ko8pDRysoUlggEigqiEALkaP1rVe6d0x5dvLEajEKN6ZIyLS5CUluCVBBKkKfN2CfLfY9WWOJF3cjrlC0XYbUGalNohIIA58Gslrw2mTxRXbi+5L8Kdei29fh+u0XqEPGRkECBRmWrEhB3fN49rrXqHw/1htzF6hheKzwH4JFC/PNhuKIFVrwfcbNTPJu0iKwLuDgoZUiaJXkhAjwBYmgbAI+U88jXo/wx8RxQbYgTbg+ngrRywtcRLBMQS2PDHxkWo82dUS7EZ+73Fz6xskkWmiEn6mjV+QfY++vOupdKi9V+2OTuIB9QqQB24kChfF/73nXprspJU/MBZH2Ni/64n9tVXrOy2iy1Lt0LUO4tCMvvTSK3m+SPIOiSR4MFIsqHCigSfIv7gUPBoeRXvWj9t8SttZ1mgxQqGIS+ACAPT7vmDHnj3JPGod9vFlQTGHEs7kCOZFjBUDJjFgWUG7ALi744GlrgSLYP6H/iDXNEfT66PJTc48HoXxP8aQbzp8C8zP6mLZCSL8YAY1TUeGYiy3yi6JB0kbr5VoY3CF9uJQk0ULM0fcFWQ18xuOgQFPPd918kjKtUpR5FkVY7HabRXWOjgO9qUjI2SQaB0qXdvllmbyVkYuMUbIvZJ4u7NHm+a50uClYJd1EzlWCMCUUKSxESswJlJJsUBldMAMWJ8Ea0kKOm2FpiqyWFR2IKuSZXAFtnWI8UAAaAvRjbkOmMsglp7R5GtVC2XkZRbMXNWCCTiSCb1x0d1dhjElorFlAILkuZAkar3M1DAZE/MOKAo8mqgjZbXFHWZvRLYBMyoYD1M1DQ8MgbBBmRiASb7joHdRRRuwKKrOe8yBmCqwHKqnPcCSLo8g8cEHKjs0800fC0DFI3LSp6eTfQjgsw8AuF8eB5ZMpWAVGtpFRqpWSTIZKuOUhUENlfAVQANI0FpMY7uZJPUj24/DZhkjKVhXHErIbjDBiqUQS3nk0L1N1jf7fcPFBstv2Ia/GYgEBLJJLkYFQ1NxzXHjSibbJHeLBgSy5Mvc6+CVyFRoGAa2I7X82DrPiDY/wsyII5FZUOT5G2PNDgUhRGUEDn6862nFRVIE8dwrr25iVI5BGwf8KSVCmA5DRlQW5xKrSsooA+55C3cTKk8aMzosRxZkbvViS0rA15VmK8DkRjXXQukrLuNuMi3Kvl5XGNe5SCMvnVUHtXjWtltLkVcmeR2ckEcGkLEE5d7B1XHjzfngavpTUHdCyTk7C+oSYRZlEdKEaqwbJQbbNCGFHFK98cqGmvTJWi3LelNHHGUkEiRqWWNQiyylchXpEqO6zytV4qmbhmztuPSoU9mypJrkVXFY/oPHh9s2PqBiEaOOJ56j9PhXjzKm/mZTS4t+WPxR52pKLVRVDwbk7ZDt9z6m8R5hn6gNkLw0sgIEjAnvNOG9i1AcHRu9LCKFSyvhGHDkXUbdvgjjlWpRfnkjwBR1JnjaCS3W1YkjFjS/iU0g7GCA+aFr4PFm7LdwyHdOUKQpCWEauTiz5IkIYqcVJIBIq8BYIvUJWGDTdeQKPqZC2yBkZ5FIwjAWV0Xuyq/JF2OQK9zrIpGMdwsjy5qwqKse4Dz6dLbkgWRwb4JIEHSzI0QCqSgaRmvCs/TpgMgb/Dw4otdlRYvR0MLQzOqUU7mB4A5ziT5+00Hb5uOTfm9M8CJJp2FdH6iTvvTkYMxcDPkWWpTdMGHJBWjd1q09X3wVU4BF3Ry+QGkVvm44eyQL48aofQZfU6mjysopnlLeEGAaayAe1Rjdc1QFaum/iLz/iYsywIpYYm2ZmcscRichi3HBux7HXR6fRepJRic+rqrTi2+CHb7yBlknSGEOGjRioWnckl0y9MYlrHnEGuMTwYBJs1cjBQ3qOnpxyqssZFjgqykg0RVE80wHuUnS4sWBQdwAYC6YLVX9QK4+mhZvhbbMb9Ojd8O45+vDedeg/hur5X/fY4f/R0vD/H+zsdB2n8MqlGJeRO5JSQGrEBo/WLIB8tk0KscDkkbJHftMgdO1UJUxAHuyTKMqW7iRWVlvm+o7fDsQVVIYorZhC7Ylv5jRsnk83fJ+uoofheONSA8hDckMVIujz8v3v+n0sFH8O1fC/kePxHSXDZPtemR+hHGZGAdmtW8vJyQGbBfUClTiDXF8EAa5g+H5Iish3jGRZXMZdUOLgqkiP+JbKQQKSvP1JGotp8O4Mv/wAiZwpBxdrU+ODVErQqiaon66edXVZlK2y3K0hKt3d3lDkpBW1Uih7DSP4drJfp/I8fiGk3+r8CSDpmSzhhC80rOLJwj9PnsURsQFsEglhwa4I1INqZduqYhJY3ctiJcZFkUrI5DoMpTi3y3QYmqJ1Ns9jIiLGZRQVvlQYlryDY/lOXJo0fp4qJtruGhNlGdQFU+wClSinFQQoK/Uk39qM36LVX+DKr1ulzvX8E3xLsJWaOWNIpFJje7wLPaqRID5sqI/via5PPLdHlk3SyM5hGLMpAQk0R2rywaw3d54sVzzztJZ1LGSCJyVGJWRkUPVElBwynk+1cfroqVyVSsmtLdCTiHLC+bN0CaNeODdnU36PU/a/4GXrIfuQm2HTrXCSCUD55CA5PzdguzmxHNZcf00Ft9mUBwj3CU7LbxRX3tipNhZKojmyASKJrTv8AiiYijRNyaCmMMoWzxQGPIo/a/tem/wDErOtq+KqjWXullyJVytKVxIGQ9wV96OoPQkrw19UP1VLhoq0U3orGyIjKvm7IfiyzBTyxUXkbr28ak6/Cu9RBA0duEDxrKva1hmKxyOGKLkR7WQfHnQXVYp9ssa+m6SS2zIw5YBn9MWLsnvIBI96sc6nh6pHAU9WF0kx7sVjCk3xTC7NWTfNjyfGoK4rgdMcz9LgjgjSKbBdvI2UcrKpllq8mZW5bEcUTxx4ABWdD3EwA9NnUyTc8qWkjbM0vaxDjFiQeBjfFkaD6tP6qkKjCNznZJwLd3dRNFqUi/PafpovqvWoY+nbX0dsU3CAEv6dRDEY+oFf5ybDWAQG+b7tHPI++uOx6l/6d/Eke6gcgsJRQKyGzgsaohDUAysFL2Pdzq1yS2e0Iw+t+/wBPl18+fCO33Jgk3EcYdlBKRnIiUO/eQoN4Eqcl8NRrkAj2zpe93fpKZYtuXIu45ziQfFBo7HFe5/XTquCMk+fJ4J8MdVj/AIXfwS0C+BiHIJezERV8ghuQTxZPtpeqGONVMbiNcrfHt9RiATmBTfKFq+DxrNZoXkqv02S7a/XDOwAWN1piwAbFlHyc2S1G/IyvXG224JMqGjt2iYljTv5dyrY/MDyDVBTZPFnNZpmHTVqn8wbpcPqTg0UiRnlNUzBF5x7j7CgSxrzZ0yXbxYeunDqLTEItguO9kFYVTIAoJJVjdVres0rYYpIYdWtdvEko9OVoJZIk7SXhljYLeAJSS40emoFW/mGq3toiyukjC1jXDzQSQmRms1iCvbdG/UUe+s1mmqhYtyZNJL62cjSFnLIRyQwsMMAxFhFA5a/GIA1x1Dd+o/agVAvyqpKgjmRgPC2RZxoUAPbWazQCMOk7DJdyWN+qoRfymR2UbmgaNfIL8JRBPtqP4a3cyLM4iWWBBciOFIxelYgHy2K1+g+us1mj3BeLOpdyajaKFfSgObo5IjYq5EbuxI9Ru70qHP4ZBu9DdY3RO4meIs8bKY/UHi2F9zAYk+f1A1rWa1CqVjPrceDJGsoaMsIczF6bmM4jI4t3x9zCiQ3t4OuOudbwdTFDDtWdSjekArhclNlQPwWIquSaJsnWtZovmhmtqtBvSPhn+HA3O5aAxY2AwZ5MziFBVSMTbEFrYDA8XzoXfTn1lMcZWM0I1JByQOyHF3sOeQbPF37DnNZpHyUS9oX8PdPEE0sk6ZhID6i2i8TMgILf5asEZrHjiq8jVgVV9afEswV1TJjy3pxol/Y0OR9b1ms16Xw/+6vueV65/wBJ/Y6La2XPvrNZr6JHgvgxZiDfuPGuktiB9dZrNOkTbJZF54FDWpP7VrNZpuwq5IJJhXg3ruGTgk3X0vz/ANtZrNTZZPPBz65PHv8AU6kgBIJ+n/n76zWa10ZK2cSxZWCSD7MDzWu9i5jcV8osMAeCpFe/F/rrNZoamnHUg1LwGGpLTmtvkB+L9hGIxMMh/lBpInIX5SsbleV8MyeDWV//AGEijptjKkkjySEIGJIid0D84qz3UeYHnn9ONZrNfHyj7j6mGcEG2mkDRy8MIqVQfGIYtiQtZAljdnmzd6fwfGQEhk9H12nVoiJyGxLNXYVALL3UQQLHH31ms0haqWPBY+mx+ohT+GCSze8bCPbsYVuyGQYRY5GrHhio8k9y/DW6kCeru1/DQIgiZsBGvygNGAHAJPcbP18azWam5OOUWj7nTP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9" name="AutoShape 12" descr="data:image/jpeg;base64,/9j/4AAQSkZJRgABAQAAAQABAAD/2wCEAAkGBhQSEBQUExMWFRUVFRgaGBgXFhoeFxoXGhkbFxoYHxgcHDIeGBkjGxgeHy8gIycpLSwvGB8yNjIqNiYtLCoBCQoKDgwOGg8PGi8kHyUsKSwpLCwsLCwqLCwsLCwsLCwsLCwsLCwsLCwsLCwpLCwsLCwsLCwsLCwpLCwsLCwsLP/AABEIAKgBLAMBIgACEQEDEQH/xAAcAAACAgMBAQAAAAAAAAAAAAAEBQMGAAECBwj/xAA/EAACAgEDAwIEBAQCCQUAAwABAgMREgAEIQUiMRNBBjJRYSNCcZEUUoGhFTNTYnKCscHR4fAHFiRD8WNzsv/EABoBAAMBAQEBAAAAAAAAAAAAAAECAwAEBQb/xAAuEQACAgEDAwIFAwUBAAAAAAAAAQIRIQMSMRNBUQQiBWFxgaEyUpEjM0LR8BX/2gAMAwEAAhEDEQA/APTxreuc9Znrus4aOtZrnPWZa1mo6rWVrnPWZ61mo6rWtc56zPRsO03WsrXOetepzrWaiUPrPU1HnrRbQwNklz1sHUGesz0KDZNnrRbUOes9TQoNkutYjUfqa0W1sgJeNby1EG1megwo7L6jMut3pZ1WckBEJzLDwa8FbF/odBtIKyHPJqJn1R91NKvP8S/kihI1+/t9ARWmfw91tR6gll/MAob2AHPtwP10LHofTtxpN1hzhXNZD3seL40x3O/DBSrAg3z7HVf6vugPOI5Py37Cufprn1E2ysHRB0Nb3Uf2yb9lP/XV19Q6qnw3F3LKObLJ4aqADEilNmlPF39tN95upAeMlGfP4RrEFwRkTwDh83nuGjCaiqZpR3O0NQ51mWqTvuvTKHCyOCIyQQmQyJEakn2pmBr3rXW867KudO5xikY0gY9qkjz47q/U0NP1UL02XO9Zqi7rdM7wh2LEfNwT2imfgEAcA8nx7aBhndUgYM4lcKAQHbkj2iLVxfg+NbqA6bPRDz9TqTbpftz7cf8ALVFl+I5gjuJWoyOF7fy5lV7a54H9ddp8R7iPNjKwKIgsoF7sAzHEggctX9NHqYB0y8bi1UsylQOSxHsOdJx1qBiAJFJJqvezqsr8S7icKsk5dWSRmX0wnaWEaDwLFpJz75fTS/a7weUK36qKhCE0Rk7HPwTin9Mh9tCOpRpadnoQW/GuaHvf7aru038rSKuZq+eB48/TToufrq6lZFxoUjrMv87fudZ/jEv87fvoQqv1P7f99Zx/4dWs5NzC/wDFpf52/fWv8Wl/nb9zobiuP+f/AE10v/nGsbcyf/Fpf9I37nWz1OX/AEjfudCmRR7/APDWerfgX/XWBuYT/icv+kb9zrP8Sl/nb9zodSx9q116TfXQNuZOOpy/6Rv31v8AxOX/AEjfvqD0T9dbCH/81jbmFL1J/d3/AHB/trn/ABGX/St/5/XUSbNjqZNl9ToWbczX+JS/6Q66/wATk/0jf21MuyX3BOpY9jfhf7aXcg3IGHUpf52/tqVeoyV8zX/TR8XS74ofsf8AkNF/4RiOSv6ENf8A/m9K5odKQqG6lPuf7f8ATU8Jmb83/D/pouRlS+5bAugoJr9DrJurqg7nUeDQHJ8kcKLPANaR6hVRkztNlLV+p/Sv+uu1Wvmka/YAeT9PGg//AHRAcR3MSRQC1ZNFQcyBz/T76HHV2MsiRgPHVEhEUEEmlXnnLIfN4rnybm5t8HRHS/cNttOr+7eavG7P0HP20t/EaV/TicLGSQ7ISS1A0ADybH19h4vRkvWpMBjzcYAPBCkAksFwojIY+/t7aE3PxNIIo4y6lpFAD+qis1i+OKDVXND5hXPhHKy+xIUdW6bIioDChdaIYXkRdnJb5u+fP9tAnee8qqMSOwg/JzlRsEefYef00/XdbgyZCTGRSkOJlyUue7vNAKxQBuKsMCK4Jd7D4fIUJKIzEQ5apHMgcmzUhrsoV/XSbmHakUs9eLRx4JGtKcxTcEWbsLXP09qPOlHWt9k1dpPd8pU+T/qk/wB6Or31b4eSIB4ZsXxJQZVkByeSe+rFj76qm7k3BYmTI/UqiK3HsH9OxRH/AB0N1A22HfD3T/w4lkQglXsGPnFiyj/678SDjKh71oqbftXGQDoS1xuoIIVgLvEG5Tx5NN/KdJl69HGKeOZyBeRxkOYYPTWAw7lWjZrjwBrn+Niz7KGMKqowZDiZD+UnGqjThRY4s9wGlu8jJVgAnGUrGvLwpffQFtM3I7R/lj9xf0I+9fOaSiOFjTkt+eVSeBxeCNR/760z2wsEfiSsSM7FIqJfGIv1GofY+44gi2hTtlWVWMgNNkpIVHAsMBwfUP619tOZk3VpVaR7I7YXA5aspSIBwv8A/b5131GdRLFZ7Yg0h7iP8pTILrzyv6aWbeQh8KIzkiA7jfaS1Ae9uEFasG0+At+8kn4TIGTENJIighpELcAlvkBHIHn9sZindxD09vBdZGND3H3oHn5j58+db3u7B27MpJ9aRmWjZPqOSoF/YgAf0Grts/8A0vdWWSWdc1s3ZCiwRWOIJAvyHF17al3PwPAkSh9zMqqAp/hYyrEWBWRzmr64sOLvTInZTQrRh1c90ccafOG+WMMxPupzZuDXgag6Oe2O3J4kkILggZsIl49uImP+8dXuH4K6TtCCYTZB5llkYEe9jLH+2nW2i2rRlYEiAWl/CRBiV5xscgi/H31qNZ5t1HdyxJmgdfqy5ChX8w8A1rafFe6of/HPIv8AypOR9dWmLqe4V8GCOxDUzHt7Sq8sq9oJewCLpGJ8Xo+DrsxsGACjVidMTwDYyo1zXIHIOqZ7Mk6fYrQQV7frraD6G9No9ov0r+mpl23+rx9a107jzRONqT7H99SfwJ+n76Zkr9f212P00NwBbHsP/K1Muy/8rRwiv8xGpPTUef7/APc6G4NC70K12Nmx8D99MA4Hj+2tGcD/AL624NAqdNPvWpl2QHvrZ3A+v7DWhuSTwvH1P/TQsOCRNsPf/wA+mpPSXXHqhjV1XJUcfUDzzXB/bUsZA0ljGomU8BTwffRMUxU8Af11rbRlrth54oHx/wBdMdp0cH8xqz7f1vStlYxb4AN51JwjNkRSk8ceBf2+n11Xd98VIAxRizGscqAJ4sgfMfNfqPvzY/i7py/w2I/nQtzziDzx7nmxfuBqjHpLKmDyI8lIzY2AqsoJcXf5QBX0x45NRlPODu0tGNXIi3HUZJGBDHLAjj2UAkg15N354HnU0m4yA9OIytHTSIfAUBD2kn2Yn7gHz41xt9iwZC1sFyzVrLKoJS29zYxb2r9edA9b6qPT9NFDEf5jAWKPgAkVwoy/ViB7abS097t8Lkrq6iglGKy+Bu9vI8e277QqWN4pxkTTElT2lQB51Jt+ott1WqHpgBmkNhghAON3QyrgAVR+1J+lbv0FpoFFtTKXtWS6Vr/LICx55uvqNM32LAZmUIj0CrPdLYtMFFg4k3S/YnSyneFwNGGblyWBJi7gzuIs1KNx4s8eeDYy82RXkaA+It3DEsTRiKR45UlpiK5UhEq8rqieOOONB7qHBg24f1UclVMYGRZQxTOMXQAUm65HkeRrvq/RYVRV26uVWNuOW7gitWQ/lZxkPfyfB0kngLirqw7oHWQcJvSFygk93B9P1LaNWNfmxs1yovTodXikhkdnEhvBVCmwWtVIWuQzWQxFfpzrzxNvPFucZSqQnPC5F9MlUVXAdgvulkcAYjzwdPU6Tutqcty6SpKAkeMb130wX8MYggISC3F0L0sXboVpVZdd103bNkWxOBGTOeA2NA2eMq8j78+dRbTpykI6qrKQC3cCwLXlRHvyPFDg6856A8IkMMhLKwUj1PZiMglnzVceaP8ATV66Jto0nQKwB5NBvYX9+RZ8aarQltCL4j6QnLRgurMRiEKspBORNDkXzf0x/XVe3XTJArExlsPygH1PNAVVjm7B+l/S/VfiPZJLEuURmCMJAqsAS6kY8/Xmx7duhN/08SUscBUqxt+0Hniw93Xk/wBRxpZKsjrJ5DuZWdGADq5awe0eLHJvz8v99GtuDKg9WMFlrJ+TkzEAeAcB54HkD60NXLr3wdizEeo/vmqgUPuAbc/UgA6UD4aVwKkWzVUwNEGzYqwKBN1rOUkakKR1ASbpIpNtIgy9NXKtIlMTVA2RZoHjj9ORdfQ28s0SbZdxAWdTnC0ixUp9RkZcgqsfB7SeaOq1telHNXTck+m/ivcc8XxX3+/jTX4Y3A2USoxWZxLI7yF1B7gAFv6AVx/q6MWJK2WqbpMwkdk9Nkw7FYMXLBfDNkKBP2Ogx1TcRtT7L8ygGOQH5uLplFAHzzrW6+PUWPIgJxdZqeAa/Kftx4/XVa6r8ZTfwzzq0Yj8gE2zEyIlYKbQGye7kBW8jnVExKLfu+vRqAJc4siVyZLCnBnuwSAAqk8/TS/dpuVkpFSRSwonKPisibOV8fQeSB9aR/BPxIN5OqyQsPVuiguH8MFqYs1hyCfAqgBr1E6zb7BVd0UaPcTlmB28hxCm0dGQk5DEFipJGPPHuNO4vhrNQzyzIxAJVWUBftQHtpyYV44HB+mqr1j4tmg3EkbCJFBHpl+WdCikvw4oZ5rRH5b99NbaE25YjMwP5v2Ouowfqf3/AO+u02g+p1J6Z9gdXPKo3HCPcgakX0x5cGz9H4/YajG1vz/x1PHtvYDn99axkSwrB25P5v2YHjz7ke49tbk9JOfTXEmhkXs/fyNRQuAa9Mv/AL1f8tE76JJACY1Rqq1bnjxfHOptlVlYOoeowgikBI/1aH6nuPGgNwXkPexq+F9h+wA1NBGFUDk0PNCz9zXF66L631M8qmDLAB7f21jCh513/Fgsy5C1xse4y+X99Y0YJB54v9KPm/2/to2I0RKx/XUsTtfGpodoxIuh3G+DyOaH6+D/AEOiIZFjVhYaRb4vnwXAr2OP20rkkVhoykF7PasR3MaYciz4+p+2hd78WGIyn02kCggYcm0ieZrHAFhQAbqyB71qp/EPxDLnIUfAY4cA5BopmHHI7csrNj8gvuF8R9ZznWdQzYRkypQVSPx0XFiQrGnRTZ4pOdRc7PRhoqKHsfV1LSrMyhHACE85PWJGC8gZKDRqy3Gqxv8AbAOsmK04xLBu4lA0TBlN5JSrV2T47SNID1OJZVaN5W26SgiF4lcoFPcUnkk9UOcWa+AMjxWh9x1hpS04UpGTimTH1aByJIHaoLm/N8WBxpNrb5LRlFYLT8M7YEzSRljLOJFdWshsgXUeT3DwScapq86i6dINwJVJCYSxoKFM7G+wBe7tUk3XGZrxpZ6LwDEgUwHg8AMHBkkH53ZgW8BRwKqxqTpu33ErSKWyzEZDiyplVGcs4uwAGBBHHK8k86Ltu2Uwlxz+CN+mZVzShsVy7i3qfnI8AcAggm/W+miR0thHEyP6kfqiORcLbKQBVPiqBDZck2fA131/4Y3EEIznhYjwkUb5KwQ4qH4NdoX6DLwebTwTNGDHGzAsGaQnub2fxxXK2PJ81lofVFJxiq2yvzhjBOsSRoY3i5YoQceAoNI2dcEEk+3zkX5OmfR+vOIyodGzGbBRYyZWUlSo8UIi3dxbV5pVPT0YKTkVRWNCzi8ZAkb/AFfOKlQODlRuiO9rLE7qjYkAWvLKvFLQxOI7R4rjitK5pEmk78B8vTzv4kaay0Em4Y80DE0ocAYijz2L55H30/2iRwNBtm9IIUPOUvrGY40Q9GPEkntAr9KrSDp3UYlcAxRrCqkExRWrElZArY/5ZBAIY2DyTV6n6pIWYNI8SsncFBQhhHk1lzRRfAzF0L+h0YZW6/sTks0l9y2QfD01IwjVQoqWNmuQMaYEMrY0FNEff7DVe3fTt4cQFMbqMWPaQWCg5AZd0ZPA8HtP1BOT/GssPqHbSoxd8mz7rxiwBX/WIiXiwOH9/MvwR8fHc22+VQzv6alExVQFRwWtr7vU8/Sv11RxQm9qrOOn9N3+3libONkYrmMzlRVQz8ikxYZBRd0eedHx7o7zcSLUsEoRlSVouMVYgMrFaosVOJHP3AOrtuNtHRBFcUD/AGFfeyK1VOh9K/gIu9jIzNEAjOcY1oGUqCaCqWIsV4Ue3Kbc4KKSabfImmnaHcXOyzN6YQrCmKqWOLE/ijvOZqvlBHmtNukRxfg4rIkjumJkIza1f1CwBrwhb/f+ngWfouzO9km/jJYzEQf83sVitt3EH8pUVY8nydQ9c+KfRlRoQrKA5DjEh2urZlGYYAlOasH6WdIlV7mByvgYfE/pbeAGeQRZmlwUEMWNkBOCW9z+hOvK54c5bjlJFcXaknx4uh7f99WCTrn8SdrBk0ywmNRGzqDI6Kq5B2qiSDyTzlqvQdOka5YxG699wMSSUzeuCKxCEe55vjQw+APJYI+noI1tiWAo0gAseADZ/c6FPREYkEsC30Pn9vHJ86D3/VnYG6X/AGCCAAOPH09h9tQ9I6s0YExlBGJAUk52bNkVXHH99LkGCwxbGbaRyRQP6Ydy7c4vdKpAf8opKsUeTR0w+Bet7oNHJJuHeF1ZysickAcAOSAGY40Ca83WlMXxGJIWBW2YKquG8FjjyPJq7ONa5XfPCtxvWC9qnjwOAftwBzxprBSZ630br/8AEyNgn4a5DO1YFlYqQCprmuP0OmkuyRzbIrH6lQT/AH14x0z4xZFSJZ3GCgVdWAPm+/1/rpjuf/ULfIcYsZFr5nxu/fyQf7adaqF2lkRTrpiF8n+mhdl8RPLGrxKqK6gjsphfsfuPGsWE+WOuqzymicbxfZcv1/7aPfqbkARqsX1Nc/0FV+96XgAeK1HHugzOlm0xvg13CwR9R5H9DofUaLaNb53RbQeo+a3ZrtLDM8e+N0PrWpX3IAJ8Ackn2A8knWpGABJPABJ/QcnWlcMvFMGH1sEH/iNYxqfdYLk142Lr2sgWfsLsn6aW9d3xwVUPD3bh1AVQVWTk+4RmPj8uiN1ljHgbT1Aj13ELRQ1Rvtar9xX20N0rpJdcZSykGUEAgq4kAbMEDsIcmrAPHjkaVyLQh3DpOkmRTzTHEZAUaDA0f6X++nKdMUowdqUjGxZ5bt8VzydAdT352sMbUCPWhjZmulRnCsx+vHv7XftqrDrU8kMzQRBwjrgLLd08gmBBschlUCyB3i6qyjkdGnoXyHzT7hY5TGVcxbqoiXoFXhCcjkkLLIbBB8E/TUHTmlUuoYTToWd3LIcCoVAoQlSB6c5b/dFnmtRdOjlj2k8U/YryRIkfBYAiM5JjRYeLAPs3gjQHT94E3jCZgkKqCeQSzSbeNCcBeBpx5+vAvwp11SYftFkaRYSYyFk3GS2rXHKySqxIFEF45VoeAV+41Nuumw7dM2IgEkckHaQDi5APaSo7WGV88XojbfG8EUasE/GCJE9lRkkbNh3FgoJyJAJABaiR5K7fdH/i/UZD6hYGVVZpBaSDJSikFEJwuuO6x7HQajy1kyTbKn1CKSCVl/h2oeFLoRQGRc+ymvr48+DoAdXcl5fSjdTlIVMoDKgUMBRWyMSAKuyrV4Oj9wsksrq1qVFsK/OmBwVUB7balJBAo34vXG8gWR2yXOmxkBAuwo5LDi2YO3B+nFadSN0reCfpOxkzUzGJU4kdvUJHpu1NZw7GUd3PsQfY6ZpvdsriTbGRGVwsIc2tFsG7o7BHpgAZcg2OPGk525uEkWFvsAt+blbGNVrEl2pauybJFASbaaL8FZS4RRHGpyHaMlXL5eALYVzdqdK7aG09unJOQDud80m9BcBzmFoEFGsgAWSBiTQs1X9NN/SC+ukZV2OdJahiloF+WiT3MR7UAOa0qnhj20skkczPJtnZ0VomCu0UmPnwyhuDj99Ptr/6rPNtJVmgHqlGUYFgCxzU8UcSKFcm78jSw05JHV631UNWacPAJ/iMUm4U4EFlUZDIIWMjqvN2qqfAHFA83pLueqNj2k0z/h2gyGLANkxBL2jEAgg2DfNab7DYRNGHMuSh6sIwuvSLAdh7yXontN1wfebZ9MO6MKw4k5YRiRbCssPrHkLweLGRN3fHJ0O+TiK/N1YF5vxWxKgqrKaaTnziK7QBVg3fnjR3SN8Wj9SzmTjS2EFHuQgKeDHjYBPzACrJFzb4J2W0hD7vbszmJmOEsgJdcbQKZAuRJ9uONdSfBKTuDt849qSEApi6MpcyMQ1mmyAsHjEfpp6VUjRk07fAjWOFAuSMQRiWsFWXJCuSNQADSsxa+Bfmq0z6K6lZY5EU2E/GxXIMFMjkgg+a9MccYgcedLd506dGo16eMiqO0jtYQIWNUmagNdcWASC2m3UumJHtTLHTeiuGamRVLg3eD2ZKNuWBtjzQA0sU+Cs3GsZHvwt1YOJBJK1wenSuxA4SOQ815BKobHmMn3J0l631R0SMNIw3A255BZ6xaR3a8QMHCgZGuCboA6D2MsX4PcI1jnWR3JUjEUkUbOxBWMBODYs2fc6L6z0KVix4CCFRnlG2WaIHk/8A5CAhYfdv66z4onyyq7naGS4lQBpvT5DCyy2oUm/Jri+fb31AkjplEtPk/hCwINefHsLF8Hz9tWmHaFuobSJz6bTGRo1QFXjj9OULYPK2ic/cEe2g22rKQ6PEyhmZh5dI8QaFLQLWzMTbfKCOdIos21CjZdPUZSq3KNZWqxAkeiT+a8bGPi+dHRbVGWMqXJl8L8pXH8M5kfdCPHkH66j6RvjHCzo8YWRochJ8+JYOVC0aQmyTx+hvTPf9WikneTcOkMjoCgZ6C2BVUBlS+3Fk6bamgJ1yJtz0VQ+WLBak5BDHJVJAoXQ+Uk14NDm6StgxBCYHFQ1tkPUru4Hy2bNNzyPGnu3M00jpEnrDkMQoZSCMvJ4YnzV2a8EaGUyRMXl283IKC4S0Q59saxNjmvp+wg8ZRpU+CpQ9SIla3IX2H3J+/ihr0Dp8oGwkidFZpSjBjIRQA4BFUTTH3I7h9NVH/wBoktykZB9/UcH9KP8A1026rIR3t2UVFA5DiiTZN3QBrxwBrTkuYiJMhfYytkyJGyJ5F2QKFCuP/PbXWy2HU5wz7fZsY8iAQkZFjg0ZBZH6Ei7970J0lX9WUqWIe6LEg0fHvxxr2D4f6nHBtoo1kelUfQ19R41ya+u9FWo2V0nK/a6NQQBRSih9tc73demmdFgGXKvIUkKW/wB28j9gda6XI/op6wqXEZ1RGQ8kH6e/jRLNftr1rPF7mWNRk91+5Fft/wDupEgvzoiPaj2s/wDD9tKFIWbsuXjTEtHKWSQgWEtGZSa/KcSv6sv1002HRvTRVzJCqFFkk0BQsnm69yb0SNuv0Gku628pn3aAyAPt0eJsSYwxLK6eMbOK8E8Bj4uyC8YqsnUfQD6LWfxfUjLMPMgidVV7AAzaJQW482PAFWKRo0jaQmlUFjwfAFnirJr2A1WJN8Y22UskqLhC38SGfHj0siQnuSyXj7BSR41V+ufHDPI0sJlSCTbKzWFrFlHgWGDh3C2GI5aufCnVGLYy+Netod2kaXxE6A5j0z6iKUYAeTmyfMPC2OL0n+DviFFkWJw0pzPqYl1yxvFaJCZAgAZEGkJu24T9Xm9ZtqfT9IvtWQAsFcTJlHFkZAClMqFSWr2Hitbn6NI8O5waNDDIHY5sZCuHpSsGUlsFZSW8iyTdVal6pUGbrrrb2KYsoilR45qYFhUivEqKx/IAUJJyBZbx5ICHedRkWZg7ktjeQILepTFOCKK5gMaAsi7vnUhT0jMzELUDiP1Q47ezFY6Fepmh+QkVldUdddZRo5FvuCfNkSRLEFr1fxK8hfHHlqsFSRT3WuBk0o/Mzbz1HIwjtlVc1VWR1LteAAr8MuxITg8VZ1YOn/EboSVeRSpCo4BNxmTJqWrdQ1D/AHQKpq1UJdw4zU4liM3BQePw3plbsKqysQKK8tiFB5Z9PkJDSPkWwc3HRN4t6eZemkfIljbse7trwC8BXuwWDrPSz/Hum22ob1GJZ1rLFir5AepWGZyPtf01L8L/AA+snqmWRgYPRzCkBs8EtjSmzbNyTZKkke+q6vW5YgQrGP0oiqqDUoDDJFIFAMvoqSVskHg2ObbD1fdepP8Aw6tNCLLUCxkIABKNd3jkL92APubMavIs/asB3XtjAJlhykWX0gy4oXdTK6xZX8qq2A8/Q+5APkvU5n9QKiyFVN0DTWhAJy57sqN+3HA516b8X9PlZ4p1FsFGaLVn0Czx2GUH5mDFfluMc3zqqfF3w9LuI7hVXG3GUvdyWkPzKoNdqim4BpAea4MX2FnwmKJeiuV9T8QXC7HvuR2CNK134BKmx54PGhtk3B9RJBkKIWrC2AGGRrI4P5+/sdQs+7iQxpNlEwaMsh/DoqS4tlDBcWJJqq9+Nc9I+JHhVYmClAaBxBZRbMKNiwGkc8/zn24074JxlUrGPTN086MqcHKBVDX6ad5BZ2IpVOCWzWTVEnwbF8N/EkcE0Qdcyh9QyKWpWZBC0oWPiUsGK4jwEFZG9Vb4f6gzMIZZWSIuC6gnE4AlSQBbKDdj73550w6P1l52ZSMUaNsmIY0a7Bjl3U35j8wNHk8o1WSikpYZ7Xvkg3xUeorNt5gOLwMnBMZPIY9oteSOLA0D0zrboJLhDom5SIPTMXZ2HeAOKOZxcCj22RyR5p03dBZ7iZizOxshAnrrI8tCzQDAIC8bCgvuLOitv8Qgu5bAhJ/VUSAAGcJ8pPCRuokrkVYNCxwg+3sy8ybs/wAdCcysSybhGOR5czLuMaAo8Ko8jHE/prnqI28kqQo7VMrSsJCTSxth2gg9xYEUK4LEcAjVTj3AZMXixkO3LmRhciupjODWAz4DgVxcrXRFnmHf97bpQ0W4jkqKgCJAMm9Jq4h7COOB+JRBsHTKnyJtayh3/wCnkG2bayvuWS5JJSVJqMRx/hkUTTiwxyq6Kg+Bq/8ATo4/4YCB8kC9pBLUCMgODY4I4sHnXms3WjJstjCXSJZUHqNlGHMzcucSKHcxoe5YkihqxfC8kxhlWKmhfPBmKmgYkSIqq45IMKIyWyW54Fo6WQ7Wyv8Aw503cPM27khIsSCIvMQ+BXLMee3uKnwafi71Inw4rg1IYpppWjWMsuILLnI6j8i/mx4N+RZ1YW+G551haaOFJAHWQWGRFLGii4m3KKoyJtQ8lHnS3qHRpEG32rwxS7eFo7L2fWW7d3HPNjIgAksa8aW48Io3KTtiLc/BaySkLNDHIqk/w54d8LS1Jk7eFs9oAsDjSjqm1WSWRD8ykdp+pNcMPp4u64OrbL13c7qKPe9Pizji3EpxoKX/AA2jFlmAESg0eLtAa1fJkh3O19aVBXpljwMlxBsBhdEG/BrTtWQPGJNq0FvG4j9PuFOMhgMSavuNg+x4OrB0vf7ncuI19KVQKYOny2Ls0PPvq19K+HpYURpVWRCciMjSZ9xLLib5PLDwNFQ/DEaGOYIcgxPabA5Iv61Q8eNLWDWU5Pg3cAlWRHW/mBpq/Q/8NI5unIGCgkOxVxmeCoAKsB7CqHj7eeNeo9S2ySxyCJ2DtS9rV5IBPJo0CTQ+/vrzv462bOzvH2x2YgxvjABvp4yFUDyV+ulkqyg3YQ3w6VQOSoJFgCgCPY3oKuBbYmjwWA8Ej6/bQnRdg27VL9VSkeC3mvcS1sGUUQt/Kf5vfU8G43aAqXmSiaUJlQ9ucPNckfUnWjHuxWy7xrfvotEGounSRyIrobUj+o+xBFqw9wRY0eq66jzVExFH01J48D9tYkZPgaG6l1yLbNGJQfxA2JAGNgEhTzdsQFAANlgPOg2WhCwnpm4WeMSRsCrfuCPII9iPcaS/FnxG+xlyOPpeiS1qeHshDfgFmsAEc4HXnI61uWimEUvpIkonC5qApkJVKYfmWSMkjJQbJxrgMOufHj7mLcwsuJkYekUCkqpssr3w3KHkEkgiglHSnStOngtE/WP4np0e4OIV45Y5RJ2lpPSeMqAKY5M1nBhwOPrqizdMUtIFiEeGA5kyRVLUTZI9SlQ8fa/5dG9N6IN9t9r6EhCQrHFuVBTlpHhSQhhIXBJjDC1AJFjydKd06ruwuBxIdVBIEhAciNyrAYhuSMi3aSe0aDLQRN6yLDYhI9QzANgDX4kRjay1FrhIvK1s91+ROnTOF3Kq8io0SgyKeQGdXUSW2TENaUvnNya51Pu0YbHb4yBkZ3skxri4YkgizZBfiifJ4B4A/Stm8hkVZACkLOyNGzKcGph6a+eVUlqsWPvrZHwa3ziRIrxB7VHy+ljGQoUHEEAZMSfb1D55Jmh6wyblBgSPrO7KqH0wgQuoPaCCABfmuSSddb/ZlEeLBFKOrj0x/wDWUX1BRkoMAhBFZEp48krpRuSZJJldY7OQU1wiswvPIg4qAAR+UD20Ld2Ua0nBJWpd+KGcMBuOb0w0MilSWVm+VSuWR7+aRgQRfF8HRHSd2rko4haQoo9TJUIPqWxvlWtBeSjgWeRyLFtN/tNntA0SYyTQxsAJlZw8q0rhOUDUoIGJXtFAmxrXWPjliZikZWMxhS2N26uyOoeNWxVlFgMwu1o8nWrIq1JOKTK4+3e3AjIU5r+ICqlkGPyADGigWyD4I8HXEXUkjhkWeCyNr2DAtiGkxtQw7ARl8vA4Nn2Ih2bJJt4payWX/MDLIBFIFoBWUqQFZsiR7P4+YiT7g+pMIZGZs5IhaKHkxYAH1CpByLIbsGgSTXI1UC2y7xdflXa9NRVBEtK2WOLKyFUUkng2yrR5sE1xRqm46cYS6cySyAxkyEMsbqWjdlQjFgzE2GuwSOL0p6VuiYDODNEqPCqkG+/H8QBjygMbDEe4I57dEx/FEczi/VzVTleI7r7iWY8sSf11rafA+np6coyt57X9RH1xGiB26kGOw+Vd5JjVD3Xyhx8H/mdL5OhN6ayIcuxnIPBAUgUP5idWLqO6gaQfhu7VQCyKW4HjEG7r20u6h1BcYgiSQ40y+orU4ZxRBAsVywI84kea0252sA6WlGErkm6xV+V8kuLAtpHJECSKc5RkG/VAIXjHyAbC/XytVemLdAwPe5VaKnBTJnJTMyKIzynbRs/cjyAX0dY0/ElUM0cX8QCpag9s8YYmmoKihV7gTKCb1F0vp4EDZFzKpe4ngLRECPOjIBauwDdysCo/2jqsIbld0c+EGxQrMaLvG0W3iLESIrM8liRaoYIGIWj47vOeuoNs38SYM09ISJeKogWjkKo1ZwNsxqr5Hvrp27XcFHKj1I7YMWelDEooruMpsHlQrEvyTiDqPcbKNymRRoI4EEg4zVmV5FDMnEpLqWsZCl8CzqL9rpleVyMZdxGjHECVg57ZEqFcFDsOSAjdqmyT4JBGdaD2O8YRRembCxZhhEvJ5dlAFFwrOIihIBxY15szb9Qgk3ZfKPCI+XQoZC4K0UN2gVSCCK5UWND9I6QZ0Kx3NI7I0K2vyCXkEo1KQgZitH5iaOlk03gdXQz6ZvWEjMXVUVAqHEFnjlaNsB8wUM4KWWIpwFC0tMPhn4wO23EUcuCxSs4BXhc2Kngex9RmLCq7gQfYC73fGANGkapHSeoHGYtXZ40IZqEkbVz3Z2ee3gT4T3PpujzK7LKBEHW0LNMqMFLMe6OwCGFLbiguR0jTayG0uD29Tf8AYgiufeiD7f359tB9agDRE/mUWv8AtAeP0OlvRPiSKRJDkqrG+J7gQpoHEtVZDIce11qbdbwSA04FqwFYkgkcEWcSb55se2p221HgXbWRbsN3hE0ccaLlkz+QCSS7kAA93k+9k6S/CG+jR5toJA8BkZX/ABgXLnAuFFBsBVcAeTdtZ1ZUgUng0R4Ni7B4PbwOKPtzfA086ZMDwwXP60Lb78Dzqrl7tpNxxaCqBOPfX2JH9wb0snWHblmkZQCPB5ckHkgDmrr7abhDndflofuSf34/bUG92UUwHqKHC8j6j9ua48e9aoiB53u4USb+I2O6RQKMkchJbAfNQbuurq/H1rjSqPqLSQ7aJlWMHcqWOTAvTF2yIII+bz9SPNVq3dS9TcsySQhFmlSONDRkMYKtMxYNS2ikYjwRySTQq3UPh/19zOEIRIbxGTcsfmGd3+554GjJJDcD2FUBZlZ+LBjDHG+OQPJ/XzqbbzKgqpASbORBN0BfcCa4+uqj09WglH8RFGVJ4RlJk+xF8f1P769A2nW45EDKhrx3LRH2o+36caigsrnwbs5NrB6e5xzytcPBUi6P+sCSL9wE+lCyv1CJGRXaNDJeORonEW1Enkgc1rieIBHJOChGJayMRjy3H0HPGvIOtDdTGGCamm9NaEgPcU9R7YjtAeInigzBUu2GWrWQjHdlnpnwj1d2aTbbl19eOR1UWgkZAA3KrwWCspLAKCGHHk6i+Ofh4b7bB4GDSxMyoyEGiWCv491dBx5FEfpR4opW3G1DuwmQKFkIdZGjCEohSvqmHqVmQwJvGw56Z1CeCPqZBeM5LJDI6ktIxObFldflAGLGr/ENHhdLyX2UxV8H9CbdQOE7GBMcgMalSRTK6vVKeczYU2f3g690k7GSNfSrOgpD5CTCu/EilOUl3xWRBFeWew6h/wDMEm1SWCHdgdkbQ90lDuGRaNCS4v3o+xGrf8Z7JDshJPHCDEysBNJcYs4kMa7zR4XmyBoNsssStnnPRJ22zJJIrdkzJIWLUVEazKuApSp4+Y33EixxpR1rrLjf/wARtPSsMPTK92NY2imgrLk5UVVhq8jje9ZhFCaCh1fAIgvjH1Bxxw6VweKAF0dQwSAieSO2WMxu4NgW6uj1VEKSQf8Ac5JuzXSklLLF1I2rRZf/AH9DMjmXaNK6jwcSqSc0SxFiiL8A8aQbbbGOgsoWV4+1ispkkWYiPFirCjZ8gHnKzxRabtpd105ZmjJxxUSKVdTjaySvGyAqw9Pgo3/2fbVegQYP6gyURlaq6YKQOQT3gOwUnhCycEeNPzd/ahk49o15yG9Mkl3249MLk5QKcvTUIEVwfPlu5TyC5IaiPIY/D00kdpJ2w7gyRzJKwC3iaYsB2kspQPXcGA5oaS7TeTYtEQY45Emb0+LsrmXf8xNIFDMPrQBGmMe2PpxMxyDZDLtyzZ3aig5x7gB+w540q1OllK7waEY60+m3WLRv4hatwY4wewCNFjjcsqwMwVASC1jIAvVMReXnQTThMY42uNlaYhAAkcmDSAhSuXEUSNiWpiL50b0/qypT2qtKcBI4yIAIckH5s8VoEc2eOaGgmWVxB6MiqXTEqeIwYyUNccqAxYkmwD9uZrU6mao6NX0/Rltu+CXpPWZpAWUGhIGEhZiVkxVFHqVR5NhOOGa7A0d02MSTxxjsjENn8qo07j12Wl+XE2Aa+QAeToKXaEqVVZvSaRmmLtGLKA2+EfFE8fmHA96Ot7Do77gSCeT0pVaKJlkZKlICVbGQPl4PGVVQ9gHOd+CTYbgAwhS3pybhm+aQ20bB4xjHLiHRQBnQ+axeJpluOrvvPTjhUeskoRHdIhA4ckAP+Fziii+R70DYGlGxiYNGHchY2ZfwzgSHvLvC/Me6uD4486m2O0yaSOGMlwySxrZ4UBLYUQGYAtQN3R+oBXcrBXYN33Xpdn1Hcpt5FitlNRpG6onzCiynBAW8AAgVxwNJOt9Xn3UUrbm5ZY8ULYItXkS+IUE0FGNVxISfbVp2QU7ZZJXXlHd+xBJ+EBEM2r5RjZ9yQBdAgon2iTAO1hxMY5Fyq4wFkaiF7QxLCyGINe1AM5WwUksgvUemyRbYxtzLKNrDTkKY8F9Vh/LiAIxZJqybHI0rXdusKGGNkANsA34bkRC3NENZBLWKxyI1aN1vEidJYzGDA00wEsh4Mjmo0BFMDQJ9z9rJMXoXDHuJAAWdSFE/nJbUhEy7ivBDRilAFAAHRWpSrkZaSk8OgNyPXphLTkYshfwGQBqFgByvcaJBfkDxqTZNkc41xKRusORRYS4CsxK13O6S9vPdlyQAaI3WzcyMqp6iSqfUIIWJm9SSaNcwSA1xs5rzQXjUXUFhl2+3jhiWP1WlEchY5mSywJJAbFnYIvH1JHA0n0Gkq5AN7B+AoTFTIkSMfUpywzUtwQMTfOYPBADDnTCXdbhDEBGyXAYoVW8ikg9QOsii7dVL2eFsk1ydQdX63EHbJpFxUIuC42uJBTFlFgNZz8kSt9gOoIWO0k3FlfxlXbvkFQ2zK7EHiNAPF0MjQ8UTVIXdk3t+oBIWamUtt0Xljkxp4jNyCoLFyo59ru+NCSy5Sxicfw4lQJKQrHONVC5FeGQAooryLJsg8u5tiU2areZdIzEqD55ecXZwcmGZL+StmgdLv8UkdJ4z2MZIliydmQuJD6jmRgclGPuaA4o+SYuOb5DJSxXBGxdFn9aRwkR9IxjFsmyDRgUbZVWJO4qvIIu7Gpd/t44IY5Wj9SOTxIAo57rXAtlxg1miPvzrhoPUaQr5WLl4kEls5CAoQQzW5JL1kC58itQy9HMbQwg+pkiyO8RMhHBYKAEtfF1RJsXYFaCnQHDwBbXfpGcpVyUk0F80eQPmHjgWPOnXwt8RGLfJOqtguRCP9CMCPqCVLc88/bQP+FiRWlET4RyBBWbFLBP3YgUASf5hyNDDaqsyotBucqa8SF4BvwwyYEexBGi2qErsfTfS+px7mJZYmtT+4Pup+hGtwbZyX9QKcnJqie0cKLNflHivJOvAOm7t0fFZCtWD3NjbDHKgw5A5B/1R9NWzp3V23G7jdJHwSWFMbfxHgGsH5rALE1zzpHKuxuna5PTetQRLE0rop9FCUscKcaFfT2Gqr/hDxbGN82QumbkBSyO/cO1gQVNhGxrwD9dC9Z6285lh9LON5UW4wWkQEnJHA5BwFiv5T9Rdln6ltZUKt6qjxRTcJ54o9oNf20yyJOLhhlO3W68pKoDWCGUDG65u2Wr48H3++tRb7dRdqKuPse7kfXtPP66F+INzHFKsSMZUdQFc9pX7MaAJHjI/8tKTunHasppePav6GjY0lO6oB62rfcD299Vv4w6RCu3l3IVRJFHkhZmC5qxZBQ5ouxFDzlXvqly/EsW96Z6M83pbiJ0aJ/z5R9wZO4U2Ni7FEjVm+GviGDf7dtqWlDlCozI9RggAZ1mW1fyPPdyby86q1QsY9ysdQ6usmyj3DyF5nkaKY3RijUhqUoiubV14BJqV696sfxHvS/Snkf09wTGhT+HZlYIzYCUA3mVZgcSKJBBPnVN658NS7OHbKMXfbOZixjYM4Vg2fki1sRkeWAjv5BpEerzxqgil5x4jXFs3ZgPS9JfJBkN3fdmfmAGlLUmsYCtruXh2wdTLFJHuWbMoCpBUFWxdLEhMagNdc0QfOt734rn3SIHkeQlmjVOxh+IAotQoDseApNVya50u2CMVnjd7jaONnf1e0MrkgOWZQ95UQtmyAKJNcSdQIjk8oQzeVAUOSoBx8tIoGRZicS9+eW3yH4yND1hfTjSRRGVUoFAdmWaR5iWsyHO1KFgSaZiKXSnZloVnjdqXCwCynmw5agTZxSiRda52chZHU9tIG8HJgXTEkgc4kLRAF2ODqCWMRt+I62B8rEEsbalJDWoIC9x/n+lnW5wZvaO9vstxtw7ruhijBVgWSRlZ5EyCYJxkAWYkCrQ8g6wo7ONuu1EjHcSn1ZAyI8zWKrOqqqtsr8UTRAbpJ9XEhvQLkhowzAxqrFscmGQal5L2tHxfMkm43MqxL6zn1y0qxBSB6iWbDUAFGPzZEjEE8c6eDi1kzUrwPdj8HbhZA8sbYwIy9jI2ScoLUG/lJY/ZEAo+COpbRBIMExjIYYh8TCgkYWqlgRK5VlBsUFckkXpDD8V70EbV3c5Ni0ciq11+VieWQ+9tiQbNjQe4Mn4biIDGNV8XgFpmHaAaxYWPNNR50jafH5K1tfKb+RPLB686TFmb8UOAFohVVZJZZFWwi8pZVgRZON8Drd74Q+lFgWEEryAKoJSK8vJskG7YeL4J41NN0aXaSiJzHOkzgFQfxWQnGN8Caj7gD818LdUNCpHgscqxZwh5jlRyCjyshUWB4IDL7L48aFrsIrvOL8h2x2KSQTMv4ipKFU5CsVKyKqu1sGtnFsoVru78a2W5SKYhkctRkjGZUhzTQoyk2QlkEAg8tZPFD7Hp7vFxGkULqGEhoqzB2Z29RawVIlZcG8ZDwXGoOp7ZiJWZRapHJzioxkJKlRnTiqrHPx71esZulQVudqZNqkyEByzh1BW7XHtrhsx3GqquebLMJC8iGMo2MhXgliCB5yBAsEEMOL8gjRGz6o0W1FMGzlXI/KeY42rEMMyptcyGPBqhrIJ5hdyRoCWbmQfhRqSGYBbLp2hQTzkKI5s7bbyQynf4CY0eaKaSFpMckXvpiCR6khwX5QPUuhfggk+REJZYUijxJdS18HhixHN/7N83/TU3TJsCyZMLtgzks2ZVVLMoouQqmhxybF0LkChWZQrOWbtZO3mw2KyZZOVoeAFNe/nSWUqL7le3cLNI6+mWSwrM+V5oVEndfa2d/fu8V5d9W+ImklhEyMACS6JxiFHZgQvaqgquQ/Knn31Bvowq/hoGFBhGcmc5cBji/P8AtUSfrS0IP49TFSRnInJMGXIUlYkA2UkZ7K/rwKvVFkEXtuh3LupPxaiYYhDBeIwT0mRcUUlR2uSfqMC3NAqthvGbbGF8o2EqqXYglWkdmaw7KYipTJiLsE3Xza1tRMUjY3x7R3m7u/pvkvBaUNFdN5yBJ45yLpon3EvrPUKSepJlIBwQUBAUm3yUIWBPze2lwWW5q0dbgJBuzCIWklkDQ1atfqMBG8Ttfzg1X0f5jfDTqnR3hhhhnLxOEaT08R6eFsSoKg5PkVBp/BXtHDaVLvktZIY48omKxBo48WLSO6B4+RGUJZVYkEkjk1Wo99FLDnBm7kJyULvGWlcR1nXiolAb3oAVp6TJNtS7BA6oxDSSiV5YyrTFi+ca5dig1+GSOARiO43yNHdRd/Q3BQZmWnD+mFAZGQlRgSyquYKgHzbEnMDSr+GEMe6UoBI0vpFslXCIx3woLKYwVIPPPbZB8HEesXgeSPawWhxdlJZlxCYkgyFnCgF2NAAWSBjpaVjqToI226RVeVAxm3Kyqn4vfgiovAo1KJQVBagVJ88g66LDMduZAEkLsEcFvliUYJEMTiHBLDv9ifPsH1/p8yiIDamMq0ah2ezkVyUEAlUvhrSxRQGtEbbpMke5l24LkGYHllpiQDZINg5V9Rx+p0G8GwshvQ+jzIZmdWVkkJjGB9OyrKe2OzQlKsKIBw9stcdM7dxLNvIFmMmd+IwJKVlIYkUmClKsnleDzY0u5dtwUujwoOR4I9mNVRo+9EVwfGtP1VzKec1UgICQeSSKx5BvJua8AXqe51wS5yWLbdM20uxsi5ZVOLqlViBHI5KjFQGPCWcsTWV8GfAsmz2m1IaCU7ko8pDRysoUlggEigqiEALkaP1rVe6d0x5dvLEajEKN6ZIyLS5CUluCVBBKkKfN2CfLfY9WWOJF3cjrlC0XYbUGalNohIIA58Gslrw2mTxRXbi+5L8Kdei29fh+u0XqEPGRkECBRmWrEhB3fN49rrXqHw/1htzF6hheKzwH4JFC/PNhuKIFVrwfcbNTPJu0iKwLuDgoZUiaJXkhAjwBYmgbAI+U88jXo/wx8RxQbYgTbg+ngrRywtcRLBMQS2PDHxkWo82dUS7EZ+73Fz6xskkWmiEn6mjV+QfY++vOupdKi9V+2OTuIB9QqQB24kChfF/73nXprspJU/MBZH2Ni/64n9tVXrOy2iy1Lt0LUO4tCMvvTSK3m+SPIOiSR4MFIsqHCigSfIv7gUPBoeRXvWj9t8SttZ1mgxQqGIS+ACAPT7vmDHnj3JPGod9vFlQTGHEs7kCOZFjBUDJjFgWUG7ALi744GlrgSLYP6H/iDXNEfT66PJTc48HoXxP8aQbzp8C8zP6mLZCSL8YAY1TUeGYiy3yi6JB0kbr5VoY3CF9uJQk0ULM0fcFWQ18xuOgQFPPd918kjKtUpR5FkVY7HabRXWOjgO9qUjI2SQaB0qXdvllmbyVkYuMUbIvZJ4u7NHm+a50uClYJd1EzlWCMCUUKSxESswJlJJsUBldMAMWJ8Ea0kKOm2FpiqyWFR2IKuSZXAFtnWI8UAAaAvRjbkOmMsglp7R5GtVC2XkZRbMXNWCCTiSCb1x0d1dhjElorFlAILkuZAkar3M1DAZE/MOKAo8mqgjZbXFHWZvRLYBMyoYD1M1DQ8MgbBBmRiASb7joHdRRRuwKKrOe8yBmCqwHKqnPcCSLo8g8cEHKjs0800fC0DFI3LSp6eTfQjgsw8AuF8eB5ZMpWAVGtpFRqpWSTIZKuOUhUENlfAVQANI0FpMY7uZJPUj24/DZhkjKVhXHErIbjDBiqUQS3nk0L1N1jf7fcPFBstv2Ia/GYgEBLJJLkYFQ1NxzXHjSibbJHeLBgSy5Mvc6+CVyFRoGAa2I7X82DrPiDY/wsyII5FZUOT5G2PNDgUhRGUEDn6862nFRVIE8dwrr25iVI5BGwf8KSVCmA5DRlQW5xKrSsooA+55C3cTKk8aMzosRxZkbvViS0rA15VmK8DkRjXXQukrLuNuMi3Kvl5XGNe5SCMvnVUHtXjWtltLkVcmeR2ckEcGkLEE5d7B1XHjzfngavpTUHdCyTk7C+oSYRZlEdKEaqwbJQbbNCGFHFK98cqGmvTJWi3LelNHHGUkEiRqWWNQiyylchXpEqO6zytV4qmbhmztuPSoU9mypJrkVXFY/oPHh9s2PqBiEaOOJ56j9PhXjzKm/mZTS4t+WPxR52pKLVRVDwbk7ZDt9z6m8R5hn6gNkLw0sgIEjAnvNOG9i1AcHRu9LCKFSyvhGHDkXUbdvgjjlWpRfnkjwBR1JnjaCS3W1YkjFjS/iU0g7GCA+aFr4PFm7LdwyHdOUKQpCWEauTiz5IkIYqcVJIBIq8BYIvUJWGDTdeQKPqZC2yBkZ5FIwjAWV0Xuyq/JF2OQK9zrIpGMdwsjy5qwqKse4Dz6dLbkgWRwb4JIEHSzI0QCqSgaRmvCs/TpgMgb/Dw4otdlRYvR0MLQzOqUU7mB4A5ziT5+00Hb5uOTfm9M8CJJp2FdH6iTvvTkYMxcDPkWWpTdMGHJBWjd1q09X3wVU4BF3Ry+QGkVvm44eyQL48aofQZfU6mjysopnlLeEGAaayAe1Rjdc1QFaum/iLz/iYsywIpYYm2ZmcscRichi3HBux7HXR6fRepJRic+rqrTi2+CHb7yBlknSGEOGjRioWnckl0y9MYlrHnEGuMTwYBJs1cjBQ3qOnpxyqssZFjgqykg0RVE80wHuUnS4sWBQdwAYC6YLVX9QK4+mhZvhbbMb9Ojd8O45+vDedeg/hur5X/fY4f/R0vD/H+zsdB2n8MqlGJeRO5JSQGrEBo/WLIB8tk0KscDkkbJHftMgdO1UJUxAHuyTKMqW7iRWVlvm+o7fDsQVVIYorZhC7Ylv5jRsnk83fJ+uoofheONSA8hDckMVIujz8v3v+n0sFH8O1fC/kePxHSXDZPtemR+hHGZGAdmtW8vJyQGbBfUClTiDXF8EAa5g+H5Iish3jGRZXMZdUOLgqkiP+JbKQQKSvP1JGotp8O4Mv/wAiZwpBxdrU+ODVErQqiaon66edXVZlK2y3K0hKt3d3lDkpBW1Uih7DSP4drJfp/I8fiGk3+r8CSDpmSzhhC80rOLJwj9PnsURsQFsEglhwa4I1INqZduqYhJY3ctiJcZFkUrI5DoMpTi3y3QYmqJ1Ns9jIiLGZRQVvlQYlryDY/lOXJo0fp4qJtruGhNlGdQFU+wClSinFQQoK/Uk39qM36LVX+DKr1ulzvX8E3xLsJWaOWNIpFJje7wLPaqRID5sqI/via5PPLdHlk3SyM5hGLMpAQk0R2rywaw3d54sVzzztJZ1LGSCJyVGJWRkUPVElBwynk+1cfroqVyVSsmtLdCTiHLC+bN0CaNeODdnU36PU/a/4GXrIfuQm2HTrXCSCUD55CA5PzdguzmxHNZcf00Ft9mUBwj3CU7LbxRX3tipNhZKojmyASKJrTv8AiiYijRNyaCmMMoWzxQGPIo/a/tem/wDErOtq+KqjWXullyJVytKVxIGQ9wV96OoPQkrw19UP1VLhoq0U3orGyIjKvm7IfiyzBTyxUXkbr28ak6/Cu9RBA0duEDxrKva1hmKxyOGKLkR7WQfHnQXVYp9ssa+m6SS2zIw5YBn9MWLsnvIBI96sc6nh6pHAU9WF0kx7sVjCk3xTC7NWTfNjyfGoK4rgdMcz9LgjgjSKbBdvI2UcrKpllq8mZW5bEcUTxx4ABWdD3EwA9NnUyTc8qWkjbM0vaxDjFiQeBjfFkaD6tP6qkKjCNznZJwLd3dRNFqUi/PafpovqvWoY+nbX0dsU3CAEv6dRDEY+oFf5ybDWAQG+b7tHPI++uOx6l/6d/Eke6gcgsJRQKyGzgsaohDUAysFL2Pdzq1yS2e0Iw+t+/wBPl18+fCO33Jgk3EcYdlBKRnIiUO/eQoN4Eqcl8NRrkAj2zpe93fpKZYtuXIu45ziQfFBo7HFe5/XTquCMk+fJ4J8MdVj/AIXfwS0C+BiHIJezERV8ghuQTxZPtpeqGONVMbiNcrfHt9RiATmBTfKFq+DxrNZoXkqv02S7a/XDOwAWN1piwAbFlHyc2S1G/IyvXG224JMqGjt2iYljTv5dyrY/MDyDVBTZPFnNZpmHTVqn8wbpcPqTg0UiRnlNUzBF5x7j7CgSxrzZ0yXbxYeunDqLTEItguO9kFYVTIAoJJVjdVres0rYYpIYdWtdvEko9OVoJZIk7SXhljYLeAJSS40emoFW/mGq3toiyukjC1jXDzQSQmRms1iCvbdG/UUe+s1mmqhYtyZNJL62cjSFnLIRyQwsMMAxFhFA5a/GIA1x1Dd+o/agVAvyqpKgjmRgPC2RZxoUAPbWazQCMOk7DJdyWN+qoRfymR2UbmgaNfIL8JRBPtqP4a3cyLM4iWWBBciOFIxelYgHy2K1+g+us1mj3BeLOpdyajaKFfSgObo5IjYq5EbuxI9Ru70qHP4ZBu9DdY3RO4meIs8bKY/UHi2F9zAYk+f1A1rWa1CqVjPrceDJGsoaMsIczF6bmM4jI4t3x9zCiQ3t4OuOudbwdTFDDtWdSjekArhclNlQPwWIquSaJsnWtZovmhmtqtBvSPhn+HA3O5aAxY2AwZ5MziFBVSMTbEFrYDA8XzoXfTn1lMcZWM0I1JByQOyHF3sOeQbPF37DnNZpHyUS9oX8PdPEE0sk6ZhID6i2i8TMgILf5asEZrHjiq8jVgVV9afEswV1TJjy3pxol/Y0OR9b1ms16Xw/+6vueV65/wBJ/Y6La2XPvrNZr6JHgvgxZiDfuPGuktiB9dZrNOkTbJZF54FDWpP7VrNZpuwq5IJJhXg3ruGTgk3X0vz/ANtZrNTZZPPBz65PHv8AU6kgBIJ+n/n76zWa10ZK2cSxZWCSD7MDzWu9i5jcV8osMAeCpFe/F/rrNZoamnHUg1LwGGpLTmtvkB+L9hGIxMMh/lBpInIX5SsbleV8MyeDWV//AGEijptjKkkjySEIGJIid0D84qz3UeYHnn9ONZrNfHyj7j6mGcEG2mkDRy8MIqVQfGIYtiQtZAljdnmzd6fwfGQEhk9H12nVoiJyGxLNXYVALL3UQQLHH31ms0haqWPBY+mx+ohT+GCSze8bCPbsYVuyGQYRY5GrHhio8k9y/DW6kCeru1/DQIgiZsBGvygNGAHAJPcbP18azWam5OOUWj7nTP/Z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pic>
        <p:nvPicPr>
          <p:cNvPr id="3074" name="Picture 2" descr="http://www.google.fr/url?source=imglanding&amp;ct=img&amp;q=http://blog.gcawood.com/wp-content/uploads/2012/05/game-of-life.png&amp;sa=X&amp;ei=NAhsVcavFMSqUd3HgaAN&amp;ved=0CAkQ8wc&amp;usg=AFQjCNHO8lRzgMiMBFpzXDGruZGXgN4hUw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1592" y="2060848"/>
            <a:ext cx="8784976" cy="43924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361510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1331640" y="980728"/>
            <a:ext cx="5940152" cy="599478"/>
          </a:xfrm>
        </p:spPr>
        <p:txBody>
          <a:bodyPr/>
          <a:lstStyle/>
          <a:p>
            <a:r>
              <a:rPr lang="en-US" sz="3600" dirty="0" smtClean="0"/>
              <a:t>The Problem</a:t>
            </a:r>
            <a:endParaRPr lang="en-US" sz="2400" dirty="0"/>
          </a:p>
        </p:txBody>
      </p:sp>
      <p:sp>
        <p:nvSpPr>
          <p:cNvPr id="8" name="AutoShape 10" descr="data:image/jpeg;base64,/9j/4AAQSkZJRgABAQAAAQABAAD/2wCEAAkGBhQSEBQUExMWFRUVFRgaGBgXFhoeFxoXGhkbFxoYHxgcHDIeGBkjGxgeHy8gIycpLSwvGB8yNjIqNiYtLCoBCQoKDgwOGg8PGi8kHyUsKSwpLCwsLCwqLCwsLCwsLCwsLCwsLCwsLCwsLCwpLCwsLCwsLCwsLCwpLCwsLCwsLP/AABEIAKgBLAMBIgACEQEDEQH/xAAcAAACAgMBAQAAAAAAAAAAAAAEBQMGAAECBwj/xAA/EAACAgEDAwIEBAQCCQUAAwABAgMREgAEIQUiMRNBBjJRYSNCcZEUUoGhFTNTYnKCscHR4fAHFiRD8WNzsv/EABoBAAMBAQEBAAAAAAAAAAAAAAECAwAEBQb/xAAuEQACAgEDAwIFAwUBAAAAAAAAAQIRIQMSMRNBUQQiBWFxgaEyUpEjM0LR8BX/2gAMAwEAAhEDEQA/APTxreuc9Znrus4aOtZrnPWZa1mo6rWVrnPWZ61mo6rWtc56zPRsO03WsrXOetepzrWaiUPrPU1HnrRbQwNklz1sHUGesz0KDZNnrRbUOes9TQoNkutYjUfqa0W1sgJeNby1EG1megwo7L6jMut3pZ1WckBEJzLDwa8FbF/odBtIKyHPJqJn1R91NKvP8S/kihI1+/t9ARWmfw91tR6gll/MAob2AHPtwP10LHofTtxpN1hzhXNZD3seL40x3O/DBSrAg3z7HVf6vugPOI5Py37Cufprn1E2ysHRB0Nb3Uf2yb9lP/XV19Q6qnw3F3LKObLJ4aqADEilNmlPF39tN95upAeMlGfP4RrEFwRkTwDh83nuGjCaiqZpR3O0NQ51mWqTvuvTKHCyOCIyQQmQyJEakn2pmBr3rXW867KudO5xikY0gY9qkjz47q/U0NP1UL02XO9Zqi7rdM7wh2LEfNwT2imfgEAcA8nx7aBhndUgYM4lcKAQHbkj2iLVxfg+NbqA6bPRDz9TqTbpftz7cf8ALVFl+I5gjuJWoyOF7fy5lV7a54H9ddp8R7iPNjKwKIgsoF7sAzHEggctX9NHqYB0y8bi1UsylQOSxHsOdJx1qBiAJFJJqvezqsr8S7icKsk5dWSRmX0wnaWEaDwLFpJz75fTS/a7weUK36qKhCE0Rk7HPwTin9Mh9tCOpRpadnoQW/GuaHvf7aru038rSKuZq+eB48/TToufrq6lZFxoUjrMv87fudZ/jEv87fvoQqv1P7f99Zx/4dWs5NzC/wDFpf52/fWv8Wl/nb9zobiuP+f/AE10v/nGsbcyf/Fpf9I37nWz1OX/AEjfudCmRR7/APDWerfgX/XWBuYT/icv+kb9zrP8Sl/nb9zodSx9q116TfXQNuZOOpy/6Rv31v8AxOX/AEjfvqD0T9dbCH/81jbmFL1J/d3/AHB/trn/ABGX/St/5/XUSbNjqZNl9ToWbczX+JS/6Q66/wATk/0jf21MuyX3BOpY9jfhf7aXcg3IGHUpf52/tqVeoyV8zX/TR8XS74ofsf8AkNF/4RiOSv6ENf8A/m9K5odKQqG6lPuf7f8ATU8Jmb83/D/pouRlS+5bAugoJr9DrJurqg7nUeDQHJ8kcKLPANaR6hVRkztNlLV+p/Sv+uu1Wvmka/YAeT9PGg//AHRAcR3MSRQC1ZNFQcyBz/T76HHV2MsiRgPHVEhEUEEmlXnnLIfN4rnybm5t8HRHS/cNttOr+7eavG7P0HP20t/EaV/TicLGSQ7ISS1A0ADybH19h4vRkvWpMBjzcYAPBCkAksFwojIY+/t7aE3PxNIIo4y6lpFAD+qis1i+OKDVXND5hXPhHKy+xIUdW6bIioDChdaIYXkRdnJb5u+fP9tAnee8qqMSOwg/JzlRsEefYef00/XdbgyZCTGRSkOJlyUue7vNAKxQBuKsMCK4Jd7D4fIUJKIzEQ5apHMgcmzUhrsoV/XSbmHakUs9eLRx4JGtKcxTcEWbsLXP09qPOlHWt9k1dpPd8pU+T/qk/wB6Or31b4eSIB4ZsXxJQZVkByeSe+rFj76qm7k3BYmTI/UqiK3HsH9OxRH/AB0N1A22HfD3T/w4lkQglXsGPnFiyj/678SDjKh71oqbftXGQDoS1xuoIIVgLvEG5Tx5NN/KdJl69HGKeOZyBeRxkOYYPTWAw7lWjZrjwBrn+Niz7KGMKqowZDiZD+UnGqjThRY4s9wGlu8jJVgAnGUrGvLwpffQFtM3I7R/lj9xf0I+9fOaSiOFjTkt+eVSeBxeCNR/760z2wsEfiSsSM7FIqJfGIv1GofY+44gi2hTtlWVWMgNNkpIVHAsMBwfUP619tOZk3VpVaR7I7YXA5aspSIBwv8A/b5131GdRLFZ7Yg0h7iP8pTILrzyv6aWbeQh8KIzkiA7jfaS1Ae9uEFasG0+At+8kn4TIGTENJIighpELcAlvkBHIHn9sZindxD09vBdZGND3H3oHn5j58+db3u7B27MpJ9aRmWjZPqOSoF/YgAf0Grts/8A0vdWWSWdc1s3ZCiwRWOIJAvyHF17al3PwPAkSh9zMqqAp/hYyrEWBWRzmr64sOLvTInZTQrRh1c90ccafOG+WMMxPupzZuDXgag6Oe2O3J4kkILggZsIl49uImP+8dXuH4K6TtCCYTZB5llkYEe9jLH+2nW2i2rRlYEiAWl/CRBiV5xscgi/H31qNZ5t1HdyxJmgdfqy5ChX8w8A1rafFe6of/HPIv8AypOR9dWmLqe4V8GCOxDUzHt7Sq8sq9oJewCLpGJ8Xo+DrsxsGACjVidMTwDYyo1zXIHIOqZ7Mk6fYrQQV7frraD6G9No9ov0r+mpl23+rx9a107jzRONqT7H99SfwJ+n76Zkr9f212P00NwBbHsP/K1Muy/8rRwiv8xGpPTUef7/APc6G4NC70K12Nmx8D99MA4Hj+2tGcD/AL624NAqdNPvWpl2QHvrZ3A+v7DWhuSTwvH1P/TQsOCRNsPf/wA+mpPSXXHqhjV1XJUcfUDzzXB/bUsZA0ljGomU8BTwffRMUxU8Af11rbRlrth54oHx/wBdMdp0cH8xqz7f1vStlYxb4AN51JwjNkRSk8ceBf2+n11Xd98VIAxRizGscqAJ4sgfMfNfqPvzY/i7py/w2I/nQtzziDzx7nmxfuBqjHpLKmDyI8lIzY2AqsoJcXf5QBX0x45NRlPODu0tGNXIi3HUZJGBDHLAjj2UAkg15N354HnU0m4yA9OIytHTSIfAUBD2kn2Yn7gHz41xt9iwZC1sFyzVrLKoJS29zYxb2r9edA9b6qPT9NFDEf5jAWKPgAkVwoy/ViB7abS097t8Lkrq6iglGKy+Bu9vI8e277QqWN4pxkTTElT2lQB51Jt+ott1WqHpgBmkNhghAON3QyrgAVR+1J+lbv0FpoFFtTKXtWS6Vr/LICx55uvqNM32LAZmUIj0CrPdLYtMFFg4k3S/YnSyneFwNGGblyWBJi7gzuIs1KNx4s8eeDYy82RXkaA+It3DEsTRiKR45UlpiK5UhEq8rqieOOONB7qHBg24f1UclVMYGRZQxTOMXQAUm65HkeRrvq/RYVRV26uVWNuOW7gitWQ/lZxkPfyfB0kngLirqw7oHWQcJvSFygk93B9P1LaNWNfmxs1yovTodXikhkdnEhvBVCmwWtVIWuQzWQxFfpzrzxNvPFucZSqQnPC5F9MlUVXAdgvulkcAYjzwdPU6Tutqcty6SpKAkeMb130wX8MYggISC3F0L0sXboVpVZdd103bNkWxOBGTOeA2NA2eMq8j78+dRbTpykI6qrKQC3cCwLXlRHvyPFDg6856A8IkMMhLKwUj1PZiMglnzVceaP8ATV66Jto0nQKwB5NBvYX9+RZ8aarQltCL4j6QnLRgurMRiEKspBORNDkXzf0x/XVe3XTJArExlsPygH1PNAVVjm7B+l/S/VfiPZJLEuURmCMJAqsAS6kY8/Xmx7duhN/08SUscBUqxt+0Hniw93Xk/wBRxpZKsjrJ5DuZWdGADq5awe0eLHJvz8v99GtuDKg9WMFlrJ+TkzEAeAcB54HkD60NXLr3wdizEeo/vmqgUPuAbc/UgA6UD4aVwKkWzVUwNEGzYqwKBN1rOUkakKR1ASbpIpNtIgy9NXKtIlMTVA2RZoHjj9ORdfQ28s0SbZdxAWdTnC0ixUp9RkZcgqsfB7SeaOq1telHNXTck+m/ivcc8XxX3+/jTX4Y3A2USoxWZxLI7yF1B7gAFv6AVx/q6MWJK2WqbpMwkdk9Nkw7FYMXLBfDNkKBP2Ogx1TcRtT7L8ygGOQH5uLplFAHzzrW6+PUWPIgJxdZqeAa/Kftx4/XVa6r8ZTfwzzq0Yj8gE2zEyIlYKbQGye7kBW8jnVExKLfu+vRqAJc4siVyZLCnBnuwSAAqk8/TS/dpuVkpFSRSwonKPisibOV8fQeSB9aR/BPxIN5OqyQsPVuiguH8MFqYs1hyCfAqgBr1E6zb7BVd0UaPcTlmB28hxCm0dGQk5DEFipJGPPHuNO4vhrNQzyzIxAJVWUBftQHtpyYV44HB+mqr1j4tmg3EkbCJFBHpl+WdCikvw4oZ5rRH5b99NbaE25YjMwP5v2Ouowfqf3/AO+u02g+p1J6Z9gdXPKo3HCPcgakX0x5cGz9H4/YajG1vz/x1PHtvYDn99axkSwrB25P5v2YHjz7ke49tbk9JOfTXEmhkXs/fyNRQuAa9Mv/AL1f8tE76JJACY1Rqq1bnjxfHOptlVlYOoeowgikBI/1aH6nuPGgNwXkPexq+F9h+wA1NBGFUDk0PNCz9zXF66L631M8qmDLAB7f21jCh513/Fgsy5C1xse4y+X99Y0YJB54v9KPm/2/to2I0RKx/XUsTtfGpodoxIuh3G+DyOaH6+D/AEOiIZFjVhYaRb4vnwXAr2OP20rkkVhoykF7PasR3MaYciz4+p+2hd78WGIyn02kCggYcm0ieZrHAFhQAbqyB71qp/EPxDLnIUfAY4cA5BopmHHI7csrNj8gvuF8R9ZznWdQzYRkypQVSPx0XFiQrGnRTZ4pOdRc7PRhoqKHsfV1LSrMyhHACE85PWJGC8gZKDRqy3Gqxv8AbAOsmK04xLBu4lA0TBlN5JSrV2T47SNID1OJZVaN5W26SgiF4lcoFPcUnkk9UOcWa+AMjxWh9x1hpS04UpGTimTH1aByJIHaoLm/N8WBxpNrb5LRlFYLT8M7YEzSRljLOJFdWshsgXUeT3DwScapq86i6dINwJVJCYSxoKFM7G+wBe7tUk3XGZrxpZ6LwDEgUwHg8AMHBkkH53ZgW8BRwKqxqTpu33ErSKWyzEZDiyplVGcs4uwAGBBHHK8k86Ltu2Uwlxz+CN+mZVzShsVy7i3qfnI8AcAggm/W+miR0thHEyP6kfqiORcLbKQBVPiqBDZck2fA131/4Y3EEIznhYjwkUb5KwQ4qH4NdoX6DLwebTwTNGDHGzAsGaQnub2fxxXK2PJ81lofVFJxiq2yvzhjBOsSRoY3i5YoQceAoNI2dcEEk+3zkX5OmfR+vOIyodGzGbBRYyZWUlSo8UIi3dxbV5pVPT0YKTkVRWNCzi8ZAkb/AFfOKlQODlRuiO9rLE7qjYkAWvLKvFLQxOI7R4rjitK5pEmk78B8vTzv4kaay0Em4Y80DE0ocAYijz2L55H30/2iRwNBtm9IIUPOUvrGY40Q9GPEkntAr9KrSDp3UYlcAxRrCqkExRWrElZArY/5ZBAIY2DyTV6n6pIWYNI8SsncFBQhhHk1lzRRfAzF0L+h0YZW6/sTks0l9y2QfD01IwjVQoqWNmuQMaYEMrY0FNEff7DVe3fTt4cQFMbqMWPaQWCg5AZd0ZPA8HtP1BOT/GssPqHbSoxd8mz7rxiwBX/WIiXiwOH9/MvwR8fHc22+VQzv6alExVQFRwWtr7vU8/Sv11RxQm9qrOOn9N3+3libONkYrmMzlRVQz8ikxYZBRd0eedHx7o7zcSLUsEoRlSVouMVYgMrFaosVOJHP3AOrtuNtHRBFcUD/AGFfeyK1VOh9K/gIu9jIzNEAjOcY1oGUqCaCqWIsV4Ue3Kbc4KKSabfImmnaHcXOyzN6YQrCmKqWOLE/ijvOZqvlBHmtNukRxfg4rIkjumJkIza1f1CwBrwhb/f+ngWfouzO9km/jJYzEQf83sVitt3EH8pUVY8nydQ9c+KfRlRoQrKA5DjEh2urZlGYYAlOasH6WdIlV7mByvgYfE/pbeAGeQRZmlwUEMWNkBOCW9z+hOvK54c5bjlJFcXaknx4uh7f99WCTrn8SdrBk0ywmNRGzqDI6Kq5B2qiSDyTzlqvQdOka5YxG699wMSSUzeuCKxCEe55vjQw+APJYI+noI1tiWAo0gAseADZ/c6FPREYkEsC30Pn9vHJ86D3/VnYG6X/AGCCAAOPH09h9tQ9I6s0YExlBGJAUk52bNkVXHH99LkGCwxbGbaRyRQP6Ydy7c4vdKpAf8opKsUeTR0w+Bet7oNHJJuHeF1ZysickAcAOSAGY40Ca83WlMXxGJIWBW2YKquG8FjjyPJq7ONa5XfPCtxvWC9qnjwOAftwBzxprBSZ630br/8AEyNgn4a5DO1YFlYqQCprmuP0OmkuyRzbIrH6lQT/AH14x0z4xZFSJZ3GCgVdWAPm+/1/rpjuf/ULfIcYsZFr5nxu/fyQf7adaqF2lkRTrpiF8n+mhdl8RPLGrxKqK6gjsphfsfuPGsWE+WOuqzymicbxfZcv1/7aPfqbkARqsX1Nc/0FV+96XgAeK1HHugzOlm0xvg13CwR9R5H9DofUaLaNb53RbQeo+a3ZrtLDM8e+N0PrWpX3IAJ8Ackn2A8knWpGABJPABJ/QcnWlcMvFMGH1sEH/iNYxqfdYLk142Lr2sgWfsLsn6aW9d3xwVUPD3bh1AVQVWTk+4RmPj8uiN1ljHgbT1Aj13ELRQ1Rvtar9xX20N0rpJdcZSykGUEAgq4kAbMEDsIcmrAPHjkaVyLQh3DpOkmRTzTHEZAUaDA0f6X++nKdMUowdqUjGxZ5bt8VzydAdT352sMbUCPWhjZmulRnCsx+vHv7XftqrDrU8kMzQRBwjrgLLd08gmBBschlUCyB3i6qyjkdGnoXyHzT7hY5TGVcxbqoiXoFXhCcjkkLLIbBB8E/TUHTmlUuoYTToWd3LIcCoVAoQlSB6c5b/dFnmtRdOjlj2k8U/YryRIkfBYAiM5JjRYeLAPs3gjQHT94E3jCZgkKqCeQSzSbeNCcBeBpx5+vAvwp11SYftFkaRYSYyFk3GS2rXHKySqxIFEF45VoeAV+41Nuumw7dM2IgEkckHaQDi5APaSo7WGV88XojbfG8EUasE/GCJE9lRkkbNh3FgoJyJAJABaiR5K7fdH/i/UZD6hYGVVZpBaSDJSikFEJwuuO6x7HQajy1kyTbKn1CKSCVl/h2oeFLoRQGRc+ymvr48+DoAdXcl5fSjdTlIVMoDKgUMBRWyMSAKuyrV4Oj9wsksrq1qVFsK/OmBwVUB7balJBAo34vXG8gWR2yXOmxkBAuwo5LDi2YO3B+nFadSN0reCfpOxkzUzGJU4kdvUJHpu1NZw7GUd3PsQfY6ZpvdsriTbGRGVwsIc2tFsG7o7BHpgAZcg2OPGk525uEkWFvsAt+blbGNVrEl2pauybJFASbaaL8FZS4RRHGpyHaMlXL5eALYVzdqdK7aG09unJOQDud80m9BcBzmFoEFGsgAWSBiTQs1X9NN/SC+ukZV2OdJahiloF+WiT3MR7UAOa0qnhj20skkczPJtnZ0VomCu0UmPnwyhuDj99Ptr/6rPNtJVmgHqlGUYFgCxzU8UcSKFcm78jSw05JHV631UNWacPAJ/iMUm4U4EFlUZDIIWMjqvN2qqfAHFA83pLueqNj2k0z/h2gyGLANkxBL2jEAgg2DfNab7DYRNGHMuSh6sIwuvSLAdh7yXontN1wfebZ9MO6MKw4k5YRiRbCssPrHkLweLGRN3fHJ0O+TiK/N1YF5vxWxKgqrKaaTnziK7QBVg3fnjR3SN8Wj9SzmTjS2EFHuQgKeDHjYBPzACrJFzb4J2W0hD7vbszmJmOEsgJdcbQKZAuRJ9uONdSfBKTuDt849qSEApi6MpcyMQ1mmyAsHjEfpp6VUjRk07fAjWOFAuSMQRiWsFWXJCuSNQADSsxa+Bfmq0z6K6lZY5EU2E/GxXIMFMjkgg+a9MccYgcedLd506dGo16eMiqO0jtYQIWNUmagNdcWASC2m3UumJHtTLHTeiuGamRVLg3eD2ZKNuWBtjzQA0sU+Cs3GsZHvwt1YOJBJK1wenSuxA4SOQ815BKobHmMn3J0l631R0SMNIw3A255BZ6xaR3a8QMHCgZGuCboA6D2MsX4PcI1jnWR3JUjEUkUbOxBWMBODYs2fc6L6z0KVix4CCFRnlG2WaIHk/8A5CAhYfdv66z4onyyq7naGS4lQBpvT5DCyy2oUm/Jri+fb31AkjplEtPk/hCwINefHsLF8Hz9tWmHaFuobSJz6bTGRo1QFXjj9OULYPK2ic/cEe2g22rKQ6PEyhmZh5dI8QaFLQLWzMTbfKCOdIos21CjZdPUZSq3KNZWqxAkeiT+a8bGPi+dHRbVGWMqXJl8L8pXH8M5kfdCPHkH66j6RvjHCzo8YWRochJ8+JYOVC0aQmyTx+hvTPf9WikneTcOkMjoCgZ6C2BVUBlS+3Fk6bamgJ1yJtz0VQ+WLBak5BDHJVJAoXQ+Uk14NDm6StgxBCYHFQ1tkPUru4Hy2bNNzyPGnu3M00jpEnrDkMQoZSCMvJ4YnzV2a8EaGUyRMXl283IKC4S0Q59saxNjmvp+wg8ZRpU+CpQ9SIla3IX2H3J+/ihr0Dp8oGwkidFZpSjBjIRQA4BFUTTH3I7h9NVH/wBoktykZB9/UcH9KP8A1026rIR3t2UVFA5DiiTZN3QBrxwBrTkuYiJMhfYytkyJGyJ5F2QKFCuP/PbXWy2HU5wz7fZsY8iAQkZFjg0ZBZH6Ei7970J0lX9WUqWIe6LEg0fHvxxr2D4f6nHBtoo1kelUfQ19R41ya+u9FWo2V0nK/a6NQQBRSih9tc73demmdFgGXKvIUkKW/wB28j9gda6XI/op6wqXEZ1RGQ8kH6e/jRLNftr1rPF7mWNRk91+5Fft/wDupEgvzoiPaj2s/wDD9tKFIWbsuXjTEtHKWSQgWEtGZSa/KcSv6sv1002HRvTRVzJCqFFkk0BQsnm69yb0SNuv0Gku628pn3aAyAPt0eJsSYwxLK6eMbOK8E8Bj4uyC8YqsnUfQD6LWfxfUjLMPMgidVV7AAzaJQW482PAFWKRo0jaQmlUFjwfAFnirJr2A1WJN8Y22UskqLhC38SGfHj0siQnuSyXj7BSR41V+ufHDPI0sJlSCTbKzWFrFlHgWGDh3C2GI5aufCnVGLYy+Netod2kaXxE6A5j0z6iKUYAeTmyfMPC2OL0n+DviFFkWJw0pzPqYl1yxvFaJCZAgAZEGkJu24T9Xm9ZtqfT9IvtWQAsFcTJlHFkZAClMqFSWr2Hitbn6NI8O5waNDDIHY5sZCuHpSsGUlsFZSW8iyTdVal6pUGbrrrb2KYsoilR45qYFhUivEqKx/IAUJJyBZbx5ICHedRkWZg7ktjeQILepTFOCKK5gMaAsi7vnUhT0jMzELUDiP1Q47ezFY6Fepmh+QkVldUdddZRo5FvuCfNkSRLEFr1fxK8hfHHlqsFSRT3WuBk0o/Mzbz1HIwjtlVc1VWR1LteAAr8MuxITg8VZ1YOn/EboSVeRSpCo4BNxmTJqWrdQ1D/AHQKpq1UJdw4zU4liM3BQePw3plbsKqysQKK8tiFB5Z9PkJDSPkWwc3HRN4t6eZemkfIljbse7trwC8BXuwWDrPSz/Hum22ob1GJZ1rLFir5AepWGZyPtf01L8L/AA+snqmWRgYPRzCkBs8EtjSmzbNyTZKkke+q6vW5YgQrGP0oiqqDUoDDJFIFAMvoqSVskHg2ObbD1fdepP8Aw6tNCLLUCxkIABKNd3jkL92APubMavIs/asB3XtjAJlhykWX0gy4oXdTK6xZX8qq2A8/Q+5APkvU5n9QKiyFVN0DTWhAJy57sqN+3HA516b8X9PlZ4p1FsFGaLVn0Czx2GUH5mDFfluMc3zqqfF3w9LuI7hVXG3GUvdyWkPzKoNdqim4BpAea4MX2FnwmKJeiuV9T8QXC7HvuR2CNK134BKmx54PGhtk3B9RJBkKIWrC2AGGRrI4P5+/sdQs+7iQxpNlEwaMsh/DoqS4tlDBcWJJqq9+Nc9I+JHhVYmClAaBxBZRbMKNiwGkc8/zn24074JxlUrGPTN086MqcHKBVDX6ad5BZ2IpVOCWzWTVEnwbF8N/EkcE0Qdcyh9QyKWpWZBC0oWPiUsGK4jwEFZG9Vb4f6gzMIZZWSIuC6gnE4AlSQBbKDdj73550w6P1l52ZSMUaNsmIY0a7Bjl3U35j8wNHk8o1WSikpYZ7Xvkg3xUeorNt5gOLwMnBMZPIY9oteSOLA0D0zrboJLhDom5SIPTMXZ2HeAOKOZxcCj22RyR5p03dBZ7iZizOxshAnrrI8tCzQDAIC8bCgvuLOitv8Qgu5bAhJ/VUSAAGcJ8pPCRuokrkVYNCxwg+3sy8ybs/wAdCcysSybhGOR5czLuMaAo8Ko8jHE/prnqI28kqQo7VMrSsJCTSxth2gg9xYEUK4LEcAjVTj3AZMXixkO3LmRhciupjODWAz4DgVxcrXRFnmHf97bpQ0W4jkqKgCJAMm9Jq4h7COOB+JRBsHTKnyJtayh3/wCnkG2bayvuWS5JJSVJqMRx/hkUTTiwxyq6Kg+Bq/8ATo4/4YCB8kC9pBLUCMgODY4I4sHnXms3WjJstjCXSJZUHqNlGHMzcucSKHcxoe5YkihqxfC8kxhlWKmhfPBmKmgYkSIqq45IMKIyWyW54Fo6WQ7Wyv8Aw503cPM27khIsSCIvMQ+BXLMee3uKnwafi71Inw4rg1IYpppWjWMsuILLnI6j8i/mx4N+RZ1YW+G551haaOFJAHWQWGRFLGii4m3KKoyJtQ8lHnS3qHRpEG32rwxS7eFo7L2fWW7d3HPNjIgAksa8aW48Io3KTtiLc/BaySkLNDHIqk/w54d8LS1Jk7eFs9oAsDjSjqm1WSWRD8ykdp+pNcMPp4u64OrbL13c7qKPe9Pizji3EpxoKX/AA2jFlmAESg0eLtAa1fJkh3O19aVBXpljwMlxBsBhdEG/BrTtWQPGJNq0FvG4j9PuFOMhgMSavuNg+x4OrB0vf7ncuI19KVQKYOny2Ls0PPvq19K+HpYURpVWRCciMjSZ9xLLib5PLDwNFQ/DEaGOYIcgxPabA5Iv61Q8eNLWDWU5Pg3cAlWRHW/mBpq/Q/8NI5unIGCgkOxVxmeCoAKsB7CqHj7eeNeo9S2ySxyCJ2DtS9rV5IBPJo0CTQ+/vrzv462bOzvH2x2YgxvjABvp4yFUDyV+ulkqyg3YQ3w6VQOSoJFgCgCPY3oKuBbYmjwWA8Ej6/bQnRdg27VL9VSkeC3mvcS1sGUUQt/Kf5vfU8G43aAqXmSiaUJlQ9ucPNckfUnWjHuxWy7xrfvotEGounSRyIrobUj+o+xBFqw9wRY0eq66jzVExFH01J48D9tYkZPgaG6l1yLbNGJQfxA2JAGNgEhTzdsQFAANlgPOg2WhCwnpm4WeMSRsCrfuCPII9iPcaS/FnxG+xlyOPpeiS1qeHshDfgFmsAEc4HXnI61uWimEUvpIkonC5qApkJVKYfmWSMkjJQbJxrgMOufHj7mLcwsuJkYekUCkqpssr3w3KHkEkgiglHSnStOngtE/WP4np0e4OIV45Y5RJ2lpPSeMqAKY5M1nBhwOPrqizdMUtIFiEeGA5kyRVLUTZI9SlQ8fa/5dG9N6IN9t9r6EhCQrHFuVBTlpHhSQhhIXBJjDC1AJFjydKd06ruwuBxIdVBIEhAciNyrAYhuSMi3aSe0aDLQRN6yLDYhI9QzANgDX4kRjay1FrhIvK1s91+ROnTOF3Kq8io0SgyKeQGdXUSW2TENaUvnNya51Pu0YbHb4yBkZ3skxri4YkgizZBfiifJ4B4A/Stm8hkVZACkLOyNGzKcGph6a+eVUlqsWPvrZHwa3ziRIrxB7VHy+ljGQoUHEEAZMSfb1D55Jmh6wyblBgSPrO7KqH0wgQuoPaCCABfmuSSddb/ZlEeLBFKOrj0x/wDWUX1BRkoMAhBFZEp48krpRuSZJJldY7OQU1wiswvPIg4qAAR+UD20Ld2Ua0nBJWpd+KGcMBuOb0w0MilSWVm+VSuWR7+aRgQRfF8HRHSd2rko4haQoo9TJUIPqWxvlWtBeSjgWeRyLFtN/tNntA0SYyTQxsAJlZw8q0rhOUDUoIGJXtFAmxrXWPjliZikZWMxhS2N26uyOoeNWxVlFgMwu1o8nWrIq1JOKTK4+3e3AjIU5r+ICqlkGPyADGigWyD4I8HXEXUkjhkWeCyNr2DAtiGkxtQw7ARl8vA4Nn2Ih2bJJt4payWX/MDLIBFIFoBWUqQFZsiR7P4+YiT7g+pMIZGZs5IhaKHkxYAH1CpByLIbsGgSTXI1UC2y7xdflXa9NRVBEtK2WOLKyFUUkng2yrR5sE1xRqm46cYS6cySyAxkyEMsbqWjdlQjFgzE2GuwSOL0p6VuiYDODNEqPCqkG+/H8QBjygMbDEe4I57dEx/FEczi/VzVTleI7r7iWY8sSf11rafA+np6coyt57X9RH1xGiB26kGOw+Vd5JjVD3Xyhx8H/mdL5OhN6ayIcuxnIPBAUgUP5idWLqO6gaQfhu7VQCyKW4HjEG7r20u6h1BcYgiSQ40y+orU4ZxRBAsVywI84kea0252sA6WlGErkm6xV+V8kuLAtpHJECSKc5RkG/VAIXjHyAbC/XytVemLdAwPe5VaKnBTJnJTMyKIzynbRs/cjyAX0dY0/ElUM0cX8QCpag9s8YYmmoKihV7gTKCb1F0vp4EDZFzKpe4ngLRECPOjIBauwDdysCo/2jqsIbld0c+EGxQrMaLvG0W3iLESIrM8liRaoYIGIWj47vOeuoNs38SYM09ISJeKogWjkKo1ZwNsxqr5Hvrp27XcFHKj1I7YMWelDEooruMpsHlQrEvyTiDqPcbKNymRRoI4EEg4zVmV5FDMnEpLqWsZCl8CzqL9rpleVyMZdxGjHECVg57ZEqFcFDsOSAjdqmyT4JBGdaD2O8YRRembCxZhhEvJ5dlAFFwrOIihIBxY15szb9Qgk3ZfKPCI+XQoZC4K0UN2gVSCCK5UWND9I6QZ0Kx3NI7I0K2vyCXkEo1KQgZitH5iaOlk03gdXQz6ZvWEjMXVUVAqHEFnjlaNsB8wUM4KWWIpwFC0tMPhn4wO23EUcuCxSs4BXhc2Kngex9RmLCq7gQfYC73fGANGkapHSeoHGYtXZ40IZqEkbVz3Z2ee3gT4T3PpujzK7LKBEHW0LNMqMFLMe6OwCGFLbiguR0jTayG0uD29Tf8AYgiufeiD7f359tB9agDRE/mUWv8AtAeP0OlvRPiSKRJDkqrG+J7gQpoHEtVZDIce11qbdbwSA04FqwFYkgkcEWcSb55se2p221HgXbWRbsN3hE0ccaLlkz+QCSS7kAA93k+9k6S/CG+jR5toJA8BkZX/ABgXLnAuFFBsBVcAeTdtZ1ZUgUng0R4Ni7B4PbwOKPtzfA086ZMDwwXP60Lb78Dzqrl7tpNxxaCqBOPfX2JH9wb0snWHblmkZQCPB5ckHkgDmrr7abhDndflofuSf34/bUG92UUwHqKHC8j6j9ua48e9aoiB53u4USb+I2O6RQKMkchJbAfNQbuurq/H1rjSqPqLSQ7aJlWMHcqWOTAvTF2yIII+bz9SPNVq3dS9TcsySQhFmlSONDRkMYKtMxYNS2ikYjwRySTQq3UPh/19zOEIRIbxGTcsfmGd3+554GjJJDcD2FUBZlZ+LBjDHG+OQPJ/XzqbbzKgqpASbORBN0BfcCa4+uqj09WglH8RFGVJ4RlJk+xF8f1P769A2nW45EDKhrx3LRH2o+36caigsrnwbs5NrB6e5xzytcPBUi6P+sCSL9wE+lCyv1CJGRXaNDJeORonEW1Enkgc1rieIBHJOChGJayMRjy3H0HPGvIOtDdTGGCamm9NaEgPcU9R7YjtAeInigzBUu2GWrWQjHdlnpnwj1d2aTbbl19eOR1UWgkZAA3KrwWCspLAKCGHHk6i+Ofh4b7bB4GDSxMyoyEGiWCv491dBx5FEfpR4opW3G1DuwmQKFkIdZGjCEohSvqmHqVmQwJvGw56Z1CeCPqZBeM5LJDI6ktIxObFldflAGLGr/ENHhdLyX2UxV8H9CbdQOE7GBMcgMalSRTK6vVKeczYU2f3g690k7GSNfSrOgpD5CTCu/EilOUl3xWRBFeWew6h/wDMEm1SWCHdgdkbQ90lDuGRaNCS4v3o+xGrf8Z7JDshJPHCDEysBNJcYs4kMa7zR4XmyBoNsssStnnPRJ22zJJIrdkzJIWLUVEazKuApSp4+Y33EixxpR1rrLjf/wARtPSsMPTK92NY2imgrLk5UVVhq8jje9ZhFCaCh1fAIgvjH1Bxxw6VweKAF0dQwSAieSO2WMxu4NgW6uj1VEKSQf8Ac5JuzXSklLLF1I2rRZf/AH9DMjmXaNK6jwcSqSc0SxFiiL8A8aQbbbGOgsoWV4+1ispkkWYiPFirCjZ8gHnKzxRabtpd105ZmjJxxUSKVdTjaySvGyAqw9Pgo3/2fbVegQYP6gyURlaq6YKQOQT3gOwUnhCycEeNPzd/ahk49o15yG9Mkl3249MLk5QKcvTUIEVwfPlu5TyC5IaiPIY/D00kdpJ2w7gyRzJKwC3iaYsB2kspQPXcGA5oaS7TeTYtEQY45Emb0+LsrmXf8xNIFDMPrQBGmMe2PpxMxyDZDLtyzZ3aig5x7gB+w540q1OllK7waEY60+m3WLRv4hatwY4wewCNFjjcsqwMwVASC1jIAvVMReXnQTThMY42uNlaYhAAkcmDSAhSuXEUSNiWpiL50b0/qypT2qtKcBI4yIAIckH5s8VoEc2eOaGgmWVxB6MiqXTEqeIwYyUNccqAxYkmwD9uZrU6mao6NX0/Rltu+CXpPWZpAWUGhIGEhZiVkxVFHqVR5NhOOGa7A0d02MSTxxjsjENn8qo07j12Wl+XE2Aa+QAeToKXaEqVVZvSaRmmLtGLKA2+EfFE8fmHA96Ot7Do77gSCeT0pVaKJlkZKlICVbGQPl4PGVVQ9gHOd+CTYbgAwhS3pybhm+aQ20bB4xjHLiHRQBnQ+axeJpluOrvvPTjhUeskoRHdIhA4ckAP+Fziii+R70DYGlGxiYNGHchY2ZfwzgSHvLvC/Me6uD4486m2O0yaSOGMlwySxrZ4UBLYUQGYAtQN3R+oBXcrBXYN33Xpdn1Hcpt5FitlNRpG6onzCiynBAW8AAgVxwNJOt9Xn3UUrbm5ZY8ULYItXkS+IUE0FGNVxISfbVp2QU7ZZJXXlHd+xBJ+EBEM2r5RjZ9yQBdAgon2iTAO1hxMY5Fyq4wFkaiF7QxLCyGINe1AM5WwUksgvUemyRbYxtzLKNrDTkKY8F9Vh/LiAIxZJqybHI0rXdusKGGNkANsA34bkRC3NENZBLWKxyI1aN1vEidJYzGDA00wEsh4Mjmo0BFMDQJ9z9rJMXoXDHuJAAWdSFE/nJbUhEy7ivBDRilAFAAHRWpSrkZaSk8OgNyPXphLTkYshfwGQBqFgByvcaJBfkDxqTZNkc41xKRusORRYS4CsxK13O6S9vPdlyQAaI3WzcyMqp6iSqfUIIWJm9SSaNcwSA1xs5rzQXjUXUFhl2+3jhiWP1WlEchY5mSywJJAbFnYIvH1JHA0n0Gkq5AN7B+AoTFTIkSMfUpywzUtwQMTfOYPBADDnTCXdbhDEBGyXAYoVW8ikg9QOsii7dVL2eFsk1ydQdX63EHbJpFxUIuC42uJBTFlFgNZz8kSt9gOoIWO0k3FlfxlXbvkFQ2zK7EHiNAPF0MjQ8UTVIXdk3t+oBIWamUtt0Xljkxp4jNyCoLFyo59ru+NCSy5Sxicfw4lQJKQrHONVC5FeGQAooryLJsg8u5tiU2areZdIzEqD55ecXZwcmGZL+StmgdLv8UkdJ4z2MZIliydmQuJD6jmRgclGPuaA4o+SYuOb5DJSxXBGxdFn9aRwkR9IxjFsmyDRgUbZVWJO4qvIIu7Gpd/t44IY5Wj9SOTxIAo57rXAtlxg1miPvzrhoPUaQr5WLl4kEls5CAoQQzW5JL1kC58itQy9HMbQwg+pkiyO8RMhHBYKAEtfF1RJsXYFaCnQHDwBbXfpGcpVyUk0F80eQPmHjgWPOnXwt8RGLfJOqtguRCP9CMCPqCVLc88/bQP+FiRWlET4RyBBWbFLBP3YgUASf5hyNDDaqsyotBucqa8SF4BvwwyYEexBGi2qErsfTfS+px7mJZYmtT+4Pup+hGtwbZyX9QKcnJqie0cKLNflHivJOvAOm7t0fFZCtWD3NjbDHKgw5A5B/1R9NWzp3V23G7jdJHwSWFMbfxHgGsH5rALE1zzpHKuxuna5PTetQRLE0rop9FCUscKcaFfT2Gqr/hDxbGN82QumbkBSyO/cO1gQVNhGxrwD9dC9Z6285lh9LON5UW4wWkQEnJHA5BwFiv5T9Rdln6ltZUKt6qjxRTcJ54o9oNf20yyJOLhhlO3W68pKoDWCGUDG65u2Wr48H3++tRb7dRdqKuPse7kfXtPP66F+INzHFKsSMZUdQFc9pX7MaAJHjI/8tKTunHasppePav6GjY0lO6oB62rfcD299Vv4w6RCu3l3IVRJFHkhZmC5qxZBQ5ouxFDzlXvqly/EsW96Z6M83pbiJ0aJ/z5R9wZO4U2Ni7FEjVm+GviGDf7dtqWlDlCozI9RggAZ1mW1fyPPdyby86q1QsY9ysdQ6usmyj3DyF5nkaKY3RijUhqUoiubV14BJqV696sfxHvS/Snkf09wTGhT+HZlYIzYCUA3mVZgcSKJBBPnVN658NS7OHbKMXfbOZixjYM4Vg2fki1sRkeWAjv5BpEerzxqgil5x4jXFs3ZgPS9JfJBkN3fdmfmAGlLUmsYCtruXh2wdTLFJHuWbMoCpBUFWxdLEhMagNdc0QfOt734rn3SIHkeQlmjVOxh+IAotQoDseApNVya50u2CMVnjd7jaONnf1e0MrkgOWZQ95UQtmyAKJNcSdQIjk8oQzeVAUOSoBx8tIoGRZicS9+eW3yH4yND1hfTjSRRGVUoFAdmWaR5iWsyHO1KFgSaZiKXSnZloVnjdqXCwCynmw5agTZxSiRda52chZHU9tIG8HJgXTEkgc4kLRAF2ODqCWMRt+I62B8rEEsbalJDWoIC9x/n+lnW5wZvaO9vstxtw7ruhijBVgWSRlZ5EyCYJxkAWYkCrQ8g6wo7ONuu1EjHcSn1ZAyI8zWKrOqqqtsr8UTRAbpJ9XEhvQLkhowzAxqrFscmGQal5L2tHxfMkm43MqxL6zn1y0qxBSB6iWbDUAFGPzZEjEE8c6eDi1kzUrwPdj8HbhZA8sbYwIy9jI2ScoLUG/lJY/ZEAo+COpbRBIMExjIYYh8TCgkYWqlgRK5VlBsUFckkXpDD8V70EbV3c5Ni0ciq11+VieWQ+9tiQbNjQe4Mn4biIDGNV8XgFpmHaAaxYWPNNR50jafH5K1tfKb+RPLB686TFmb8UOAFohVVZJZZFWwi8pZVgRZON8Drd74Q+lFgWEEryAKoJSK8vJskG7YeL4J41NN0aXaSiJzHOkzgFQfxWQnGN8Caj7gD818LdUNCpHgscqxZwh5jlRyCjyshUWB4IDL7L48aFrsIrvOL8h2x2KSQTMv4ipKFU5CsVKyKqu1sGtnFsoVru78a2W5SKYhkctRkjGZUhzTQoyk2QlkEAg8tZPFD7Hp7vFxGkULqGEhoqzB2Z29RawVIlZcG8ZDwXGoOp7ZiJWZRapHJzioxkJKlRnTiqrHPx71esZulQVudqZNqkyEByzh1BW7XHtrhsx3GqquebLMJC8iGMo2MhXgliCB5yBAsEEMOL8gjRGz6o0W1FMGzlXI/KeY42rEMMyptcyGPBqhrIJ5hdyRoCWbmQfhRqSGYBbLp2hQTzkKI5s7bbyQynf4CY0eaKaSFpMckXvpiCR6khwX5QPUuhfggk+REJZYUijxJdS18HhixHN/7N83/TU3TJsCyZMLtgzks2ZVVLMoouQqmhxybF0LkChWZQrOWbtZO3mw2KyZZOVoeAFNe/nSWUqL7le3cLNI6+mWSwrM+V5oVEndfa2d/fu8V5d9W+ImklhEyMACS6JxiFHZgQvaqgquQ/Knn31Bvowq/hoGFBhGcmc5cBji/P8AtUSfrS0IP49TFSRnInJMGXIUlYkA2UkZ7K/rwKvVFkEXtuh3LupPxaiYYhDBeIwT0mRcUUlR2uSfqMC3NAqthvGbbGF8o2EqqXYglWkdmaw7KYipTJiLsE3Xza1tRMUjY3x7R3m7u/pvkvBaUNFdN5yBJ45yLpon3EvrPUKSepJlIBwQUBAUm3yUIWBPze2lwWW5q0dbgJBuzCIWklkDQ1atfqMBG8Ttfzg1X0f5jfDTqnR3hhhhnLxOEaT08R6eFsSoKg5PkVBp/BXtHDaVLvktZIY48omKxBo48WLSO6B4+RGUJZVYkEkjk1Wo99FLDnBm7kJyULvGWlcR1nXiolAb3oAVp6TJNtS7BA6oxDSSiV5YyrTFi+ca5dig1+GSOARiO43yNHdRd/Q3BQZmWnD+mFAZGQlRgSyquYKgHzbEnMDSr+GEMe6UoBI0vpFslXCIx3woLKYwVIPPPbZB8HEesXgeSPawWhxdlJZlxCYkgyFnCgF2NAAWSBjpaVjqToI226RVeVAxm3Kyqn4vfgiovAo1KJQVBagVJ88g66LDMduZAEkLsEcFvliUYJEMTiHBLDv9ifPsH1/p8yiIDamMq0ah2ezkVyUEAlUvhrSxRQGtEbbpMke5l24LkGYHllpiQDZINg5V9Rx+p0G8GwshvQ+jzIZmdWVkkJjGB9OyrKe2OzQlKsKIBw9stcdM7dxLNvIFmMmd+IwJKVlIYkUmClKsnleDzY0u5dtwUujwoOR4I9mNVRo+9EVwfGtP1VzKec1UgICQeSSKx5BvJua8AXqe51wS5yWLbdM20uxsi5ZVOLqlViBHI5KjFQGPCWcsTWV8GfAsmz2m1IaCU7ko8pDRysoUlggEigqiEALkaP1rVe6d0x5dvLEajEKN6ZIyLS5CUluCVBBKkKfN2CfLfY9WWOJF3cjrlC0XYbUGalNohIIA58Gslrw2mTxRXbi+5L8Kdei29fh+u0XqEPGRkECBRmWrEhB3fN49rrXqHw/1htzF6hheKzwH4JFC/PNhuKIFVrwfcbNTPJu0iKwLuDgoZUiaJXkhAjwBYmgbAI+U88jXo/wx8RxQbYgTbg+ngrRywtcRLBMQS2PDHxkWo82dUS7EZ+73Fz6xskkWmiEn6mjV+QfY++vOupdKi9V+2OTuIB9QqQB24kChfF/73nXprspJU/MBZH2Ni/64n9tVXrOy2iy1Lt0LUO4tCMvvTSK3m+SPIOiSR4MFIsqHCigSfIv7gUPBoeRXvWj9t8SttZ1mgxQqGIS+ACAPT7vmDHnj3JPGod9vFlQTGHEs7kCOZFjBUDJjFgWUG7ALi744GlrgSLYP6H/iDXNEfT66PJTc48HoXxP8aQbzp8C8zP6mLZCSL8YAY1TUeGYiy3yi6JB0kbr5VoY3CF9uJQk0ULM0fcFWQ18xuOgQFPPd918kjKtUpR5FkVY7HabRXWOjgO9qUjI2SQaB0qXdvllmbyVkYuMUbIvZJ4u7NHm+a50uClYJd1EzlWCMCUUKSxESswJlJJsUBldMAMWJ8Ea0kKOm2FpiqyWFR2IKuSZXAFtnWI8UAAaAvRjbkOmMsglp7R5GtVC2XkZRbMXNWCCTiSCb1x0d1dhjElorFlAILkuZAkar3M1DAZE/MOKAo8mqgjZbXFHWZvRLYBMyoYD1M1DQ8MgbBBmRiASb7joHdRRRuwKKrOe8yBmCqwHKqnPcCSLo8g8cEHKjs0800fC0DFI3LSp6eTfQjgsw8AuF8eB5ZMpWAVGtpFRqpWSTIZKuOUhUENlfAVQANI0FpMY7uZJPUj24/DZhkjKVhXHErIbjDBiqUQS3nk0L1N1jf7fcPFBstv2Ia/GYgEBLJJLkYFQ1NxzXHjSibbJHeLBgSy5Mvc6+CVyFRoGAa2I7X82DrPiDY/wsyII5FZUOT5G2PNDgUhRGUEDn6862nFRVIE8dwrr25iVI5BGwf8KSVCmA5DRlQW5xKrSsooA+55C3cTKk8aMzosRxZkbvViS0rA15VmK8DkRjXXQukrLuNuMi3Kvl5XGNe5SCMvnVUHtXjWtltLkVcmeR2ckEcGkLEE5d7B1XHjzfngavpTUHdCyTk7C+oSYRZlEdKEaqwbJQbbNCGFHFK98cqGmvTJWi3LelNHHGUkEiRqWWNQiyylchXpEqO6zytV4qmbhmztuPSoU9mypJrkVXFY/oPHh9s2PqBiEaOOJ56j9PhXjzKm/mZTS4t+WPxR52pKLVRVDwbk7ZDt9z6m8R5hn6gNkLw0sgIEjAnvNOG9i1AcHRu9LCKFSyvhGHDkXUbdvgjjlWpRfnkjwBR1JnjaCS3W1YkjFjS/iU0g7GCA+aFr4PFm7LdwyHdOUKQpCWEauTiz5IkIYqcVJIBIq8BYIvUJWGDTdeQKPqZC2yBkZ5FIwjAWV0Xuyq/JF2OQK9zrIpGMdwsjy5qwqKse4Dz6dLbkgWRwb4JIEHSzI0QCqSgaRmvCs/TpgMgb/Dw4otdlRYvR0MLQzOqUU7mB4A5ziT5+00Hb5uOTfm9M8CJJp2FdH6iTvvTkYMxcDPkWWpTdMGHJBWjd1q09X3wVU4BF3Ry+QGkVvm44eyQL48aofQZfU6mjysopnlLeEGAaayAe1Rjdc1QFaum/iLz/iYsywIpYYm2ZmcscRichi3HBux7HXR6fRepJRic+rqrTi2+CHb7yBlknSGEOGjRioWnckl0y9MYlrHnEGuMTwYBJs1cjBQ3qOnpxyqssZFjgqykg0RVE80wHuUnS4sWBQdwAYC6YLVX9QK4+mhZvhbbMb9Ojd8O45+vDedeg/hur5X/fY4f/R0vD/H+zsdB2n8MqlGJeRO5JSQGrEBo/WLIB8tk0KscDkkbJHftMgdO1UJUxAHuyTKMqW7iRWVlvm+o7fDsQVVIYorZhC7Ylv5jRsnk83fJ+uoofheONSA8hDckMVIujz8v3v+n0sFH8O1fC/kePxHSXDZPtemR+hHGZGAdmtW8vJyQGbBfUClTiDXF8EAa5g+H5Iish3jGRZXMZdUOLgqkiP+JbKQQKSvP1JGotp8O4Mv/wAiZwpBxdrU+ODVErQqiaon66edXVZlK2y3K0hKt3d3lDkpBW1Uih7DSP4drJfp/I8fiGk3+r8CSDpmSzhhC80rOLJwj9PnsURsQFsEglhwa4I1INqZduqYhJY3ctiJcZFkUrI5DoMpTi3y3QYmqJ1Ns9jIiLGZRQVvlQYlryDY/lOXJo0fp4qJtruGhNlGdQFU+wClSinFQQoK/Uk39qM36LVX+DKr1ulzvX8E3xLsJWaOWNIpFJje7wLPaqRID5sqI/via5PPLdHlk3SyM5hGLMpAQk0R2rywaw3d54sVzzztJZ1LGSCJyVGJWRkUPVElBwynk+1cfroqVyVSsmtLdCTiHLC+bN0CaNeODdnU36PU/a/4GXrIfuQm2HTrXCSCUD55CA5PzdguzmxHNZcf00Ft9mUBwj3CU7LbxRX3tipNhZKojmyASKJrTv8AiiYijRNyaCmMMoWzxQGPIo/a/tem/wDErOtq+KqjWXullyJVytKVxIGQ9wV96OoPQkrw19UP1VLhoq0U3orGyIjKvm7IfiyzBTyxUXkbr28ak6/Cu9RBA0duEDxrKva1hmKxyOGKLkR7WQfHnQXVYp9ssa+m6SS2zIw5YBn9MWLsnvIBI96sc6nh6pHAU9WF0kx7sVjCk3xTC7NWTfNjyfGoK4rgdMcz9LgjgjSKbBdvI2UcrKpllq8mZW5bEcUTxx4ABWdD3EwA9NnUyTc8qWkjbM0vaxDjFiQeBjfFkaD6tP6qkKjCNznZJwLd3dRNFqUi/PafpovqvWoY+nbX0dsU3CAEv6dRDEY+oFf5ybDWAQG+b7tHPI++uOx6l/6d/Eke6gcgsJRQKyGzgsaohDUAysFL2Pdzq1yS2e0Iw+t+/wBPl18+fCO33Jgk3EcYdlBKRnIiUO/eQoN4Eqcl8NRrkAj2zpe93fpKZYtuXIu45ziQfFBo7HFe5/XTquCMk+fJ4J8MdVj/AIXfwS0C+BiHIJezERV8ghuQTxZPtpeqGONVMbiNcrfHt9RiATmBTfKFq+DxrNZoXkqv02S7a/XDOwAWN1piwAbFlHyc2S1G/IyvXG224JMqGjt2iYljTv5dyrY/MDyDVBTZPFnNZpmHTVqn8wbpcPqTg0UiRnlNUzBF5x7j7CgSxrzZ0yXbxYeunDqLTEItguO9kFYVTIAoJJVjdVres0rYYpIYdWtdvEko9OVoJZIk7SXhljYLeAJSS40emoFW/mGq3toiyukjC1jXDzQSQmRms1iCvbdG/UUe+s1mmqhYtyZNJL62cjSFnLIRyQwsMMAxFhFA5a/GIA1x1Dd+o/agVAvyqpKgjmRgPC2RZxoUAPbWazQCMOk7DJdyWN+qoRfymR2UbmgaNfIL8JRBPtqP4a3cyLM4iWWBBciOFIxelYgHy2K1+g+us1mj3BeLOpdyajaKFfSgObo5IjYq5EbuxI9Ru70qHP4ZBu9DdY3RO4meIs8bKY/UHi2F9zAYk+f1A1rWa1CqVjPrceDJGsoaMsIczF6bmM4jI4t3x9zCiQ3t4OuOudbwdTFDDtWdSjekArhclNlQPwWIquSaJsnWtZovmhmtqtBvSPhn+HA3O5aAxY2AwZ5MziFBVSMTbEFrYDA8XzoXfTn1lMcZWM0I1JByQOyHF3sOeQbPF37DnNZpHyUS9oX8PdPEE0sk6ZhID6i2i8TMgILf5asEZrHjiq8jVgVV9afEswV1TJjy3pxol/Y0OR9b1ms16Xw/+6vueV65/wBJ/Y6La2XPvrNZr6JHgvgxZiDfuPGuktiB9dZrNOkTbJZF54FDWpP7VrNZpuwq5IJJhXg3ruGTgk3X0vz/ANtZrNTZZPPBz65PHv8AU6kgBIJ+n/n76zWa10ZK2cSxZWCSD7MDzWu9i5jcV8osMAeCpFe/F/rrNZoamnHUg1LwGGpLTmtvkB+L9hGIxMMh/lBpInIX5SsbleV8MyeDWV//AGEijptjKkkjySEIGJIid0D84qz3UeYHnn9ONZrNfHyj7j6mGcEG2mkDRy8MIqVQfGIYtiQtZAljdnmzd6fwfGQEhk9H12nVoiJyGxLNXYVALL3UQQLHH31ms0haqWPBY+mx+ohT+GCSze8bCPbsYVuyGQYRY5GrHhio8k9y/DW6kCeru1/DQIgiZsBGvygNGAHAJPcbP18azWam5OOUWj7nTP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9" name="AutoShape 12" descr="data:image/jpeg;base64,/9j/4AAQSkZJRgABAQAAAQABAAD/2wCEAAkGBhQSEBQUExMWFRUVFRgaGBgXFhoeFxoXGhkbFxoYHxgcHDIeGBkjGxgeHy8gIycpLSwvGB8yNjIqNiYtLCoBCQoKDgwOGg8PGi8kHyUsKSwpLCwsLCwqLCwsLCwsLCwsLCwsLCwsLCwsLCwpLCwsLCwsLCwsLCwpLCwsLCwsLP/AABEIAKgBLAMBIgACEQEDEQH/xAAcAAACAgMBAQAAAAAAAAAAAAAEBQMGAAECBwj/xAA/EAACAgEDAwIEBAQCCQUAAwABAgMREgAEIQUiMRNBBjJRYSNCcZEUUoGhFTNTYnKCscHR4fAHFiRD8WNzsv/EABoBAAMBAQEBAAAAAAAAAAAAAAECAwAEBQb/xAAuEQACAgEDAwIFAwUBAAAAAAAAAQIRIQMSMRNBUQQiBWFxgaEyUpEjM0LR8BX/2gAMAwEAAhEDEQA/APTxreuc9Znrus4aOtZrnPWZa1mo6rWVrnPWZ61mo6rWtc56zPRsO03WsrXOetepzrWaiUPrPU1HnrRbQwNklz1sHUGesz0KDZNnrRbUOes9TQoNkutYjUfqa0W1sgJeNby1EG1megwo7L6jMut3pZ1WckBEJzLDwa8FbF/odBtIKyHPJqJn1R91NKvP8S/kihI1+/t9ARWmfw91tR6gll/MAob2AHPtwP10LHofTtxpN1hzhXNZD3seL40x3O/DBSrAg3z7HVf6vugPOI5Py37Cufprn1E2ysHRB0Nb3Uf2yb9lP/XV19Q6qnw3F3LKObLJ4aqADEilNmlPF39tN95upAeMlGfP4RrEFwRkTwDh83nuGjCaiqZpR3O0NQ51mWqTvuvTKHCyOCIyQQmQyJEakn2pmBr3rXW867KudO5xikY0gY9qkjz47q/U0NP1UL02XO9Zqi7rdM7wh2LEfNwT2imfgEAcA8nx7aBhndUgYM4lcKAQHbkj2iLVxfg+NbqA6bPRDz9TqTbpftz7cf8ALVFl+I5gjuJWoyOF7fy5lV7a54H9ddp8R7iPNjKwKIgsoF7sAzHEggctX9NHqYB0y8bi1UsylQOSxHsOdJx1qBiAJFJJqvezqsr8S7icKsk5dWSRmX0wnaWEaDwLFpJz75fTS/a7weUK36qKhCE0Rk7HPwTin9Mh9tCOpRpadnoQW/GuaHvf7aru038rSKuZq+eB48/TToufrq6lZFxoUjrMv87fudZ/jEv87fvoQqv1P7f99Zx/4dWs5NzC/wDFpf52/fWv8Wl/nb9zobiuP+f/AE10v/nGsbcyf/Fpf9I37nWz1OX/AEjfudCmRR7/APDWerfgX/XWBuYT/icv+kb9zrP8Sl/nb9zodSx9q116TfXQNuZOOpy/6Rv31v8AxOX/AEjfvqD0T9dbCH/81jbmFL1J/d3/AHB/trn/ABGX/St/5/XUSbNjqZNl9ToWbczX+JS/6Q66/wATk/0jf21MuyX3BOpY9jfhf7aXcg3IGHUpf52/tqVeoyV8zX/TR8XS74ofsf8AkNF/4RiOSv6ENf8A/m9K5odKQqG6lPuf7f8ATU8Jmb83/D/pouRlS+5bAugoJr9DrJurqg7nUeDQHJ8kcKLPANaR6hVRkztNlLV+p/Sv+uu1Wvmka/YAeT9PGg//AHRAcR3MSRQC1ZNFQcyBz/T76HHV2MsiRgPHVEhEUEEmlXnnLIfN4rnybm5t8HRHS/cNttOr+7eavG7P0HP20t/EaV/TicLGSQ7ISS1A0ADybH19h4vRkvWpMBjzcYAPBCkAksFwojIY+/t7aE3PxNIIo4y6lpFAD+qis1i+OKDVXND5hXPhHKy+xIUdW6bIioDChdaIYXkRdnJb5u+fP9tAnee8qqMSOwg/JzlRsEefYef00/XdbgyZCTGRSkOJlyUue7vNAKxQBuKsMCK4Jd7D4fIUJKIzEQ5apHMgcmzUhrsoV/XSbmHakUs9eLRx4JGtKcxTcEWbsLXP09qPOlHWt9k1dpPd8pU+T/qk/wB6Or31b4eSIB4ZsXxJQZVkByeSe+rFj76qm7k3BYmTI/UqiK3HsH9OxRH/AB0N1A22HfD3T/w4lkQglXsGPnFiyj/678SDjKh71oqbftXGQDoS1xuoIIVgLvEG5Tx5NN/KdJl69HGKeOZyBeRxkOYYPTWAw7lWjZrjwBrn+Niz7KGMKqowZDiZD+UnGqjThRY4s9wGlu8jJVgAnGUrGvLwpffQFtM3I7R/lj9xf0I+9fOaSiOFjTkt+eVSeBxeCNR/760z2wsEfiSsSM7FIqJfGIv1GofY+44gi2hTtlWVWMgNNkpIVHAsMBwfUP619tOZk3VpVaR7I7YXA5aspSIBwv8A/b5131GdRLFZ7Yg0h7iP8pTILrzyv6aWbeQh8KIzkiA7jfaS1Ae9uEFasG0+At+8kn4TIGTENJIighpELcAlvkBHIHn9sZindxD09vBdZGND3H3oHn5j58+db3u7B27MpJ9aRmWjZPqOSoF/YgAf0Grts/8A0vdWWSWdc1s3ZCiwRWOIJAvyHF17al3PwPAkSh9zMqqAp/hYyrEWBWRzmr64sOLvTInZTQrRh1c90ccafOG+WMMxPupzZuDXgag6Oe2O3J4kkILggZsIl49uImP+8dXuH4K6TtCCYTZB5llkYEe9jLH+2nW2i2rRlYEiAWl/CRBiV5xscgi/H31qNZ5t1HdyxJmgdfqy5ChX8w8A1rafFe6of/HPIv8AypOR9dWmLqe4V8GCOxDUzHt7Sq8sq9oJewCLpGJ8Xo+DrsxsGACjVidMTwDYyo1zXIHIOqZ7Mk6fYrQQV7frraD6G9No9ov0r+mpl23+rx9a107jzRONqT7H99SfwJ+n76Zkr9f212P00NwBbHsP/K1Muy/8rRwiv8xGpPTUef7/APc6G4NC70K12Nmx8D99MA4Hj+2tGcD/AL624NAqdNPvWpl2QHvrZ3A+v7DWhuSTwvH1P/TQsOCRNsPf/wA+mpPSXXHqhjV1XJUcfUDzzXB/bUsZA0ljGomU8BTwffRMUxU8Af11rbRlrth54oHx/wBdMdp0cH8xqz7f1vStlYxb4AN51JwjNkRSk8ceBf2+n11Xd98VIAxRizGscqAJ4sgfMfNfqPvzY/i7py/w2I/nQtzziDzx7nmxfuBqjHpLKmDyI8lIzY2AqsoJcXf5QBX0x45NRlPODu0tGNXIi3HUZJGBDHLAjj2UAkg15N354HnU0m4yA9OIytHTSIfAUBD2kn2Yn7gHz41xt9iwZC1sFyzVrLKoJS29zYxb2r9edA9b6qPT9NFDEf5jAWKPgAkVwoy/ViB7abS097t8Lkrq6iglGKy+Bu9vI8e277QqWN4pxkTTElT2lQB51Jt+ott1WqHpgBmkNhghAON3QyrgAVR+1J+lbv0FpoFFtTKXtWS6Vr/LICx55uvqNM32LAZmUIj0CrPdLYtMFFg4k3S/YnSyneFwNGGblyWBJi7gzuIs1KNx4s8eeDYy82RXkaA+It3DEsTRiKR45UlpiK5UhEq8rqieOOONB7qHBg24f1UclVMYGRZQxTOMXQAUm65HkeRrvq/RYVRV26uVWNuOW7gitWQ/lZxkPfyfB0kngLirqw7oHWQcJvSFygk93B9P1LaNWNfmxs1yovTodXikhkdnEhvBVCmwWtVIWuQzWQxFfpzrzxNvPFucZSqQnPC5F9MlUVXAdgvulkcAYjzwdPU6Tutqcty6SpKAkeMb130wX8MYggISC3F0L0sXboVpVZdd103bNkWxOBGTOeA2NA2eMq8j78+dRbTpykI6qrKQC3cCwLXlRHvyPFDg6856A8IkMMhLKwUj1PZiMglnzVceaP8ATV66Jto0nQKwB5NBvYX9+RZ8aarQltCL4j6QnLRgurMRiEKspBORNDkXzf0x/XVe3XTJArExlsPygH1PNAVVjm7B+l/S/VfiPZJLEuURmCMJAqsAS6kY8/Xmx7duhN/08SUscBUqxt+0Hniw93Xk/wBRxpZKsjrJ5DuZWdGADq5awe0eLHJvz8v99GtuDKg9WMFlrJ+TkzEAeAcB54HkD60NXLr3wdizEeo/vmqgUPuAbc/UgA6UD4aVwKkWzVUwNEGzYqwKBN1rOUkakKR1ASbpIpNtIgy9NXKtIlMTVA2RZoHjj9ORdfQ28s0SbZdxAWdTnC0ixUp9RkZcgqsfB7SeaOq1telHNXTck+m/ivcc8XxX3+/jTX4Y3A2USoxWZxLI7yF1B7gAFv6AVx/q6MWJK2WqbpMwkdk9Nkw7FYMXLBfDNkKBP2Ogx1TcRtT7L8ygGOQH5uLplFAHzzrW6+PUWPIgJxdZqeAa/Kftx4/XVa6r8ZTfwzzq0Yj8gE2zEyIlYKbQGye7kBW8jnVExKLfu+vRqAJc4siVyZLCnBnuwSAAqk8/TS/dpuVkpFSRSwonKPisibOV8fQeSB9aR/BPxIN5OqyQsPVuiguH8MFqYs1hyCfAqgBr1E6zb7BVd0UaPcTlmB28hxCm0dGQk5DEFipJGPPHuNO4vhrNQzyzIxAJVWUBftQHtpyYV44HB+mqr1j4tmg3EkbCJFBHpl+WdCikvw4oZ5rRH5b99NbaE25YjMwP5v2Ouowfqf3/AO+u02g+p1J6Z9gdXPKo3HCPcgakX0x5cGz9H4/YajG1vz/x1PHtvYDn99axkSwrB25P5v2YHjz7ke49tbk9JOfTXEmhkXs/fyNRQuAa9Mv/AL1f8tE76JJACY1Rqq1bnjxfHOptlVlYOoeowgikBI/1aH6nuPGgNwXkPexq+F9h+wA1NBGFUDk0PNCz9zXF66L631M8qmDLAB7f21jCh513/Fgsy5C1xse4y+X99Y0YJB54v9KPm/2/to2I0RKx/XUsTtfGpodoxIuh3G+DyOaH6+D/AEOiIZFjVhYaRb4vnwXAr2OP20rkkVhoykF7PasR3MaYciz4+p+2hd78WGIyn02kCggYcm0ieZrHAFhQAbqyB71qp/EPxDLnIUfAY4cA5BopmHHI7csrNj8gvuF8R9ZznWdQzYRkypQVSPx0XFiQrGnRTZ4pOdRc7PRhoqKHsfV1LSrMyhHACE85PWJGC8gZKDRqy3Gqxv8AbAOsmK04xLBu4lA0TBlN5JSrV2T47SNID1OJZVaN5W26SgiF4lcoFPcUnkk9UOcWa+AMjxWh9x1hpS04UpGTimTH1aByJIHaoLm/N8WBxpNrb5LRlFYLT8M7YEzSRljLOJFdWshsgXUeT3DwScapq86i6dINwJVJCYSxoKFM7G+wBe7tUk3XGZrxpZ6LwDEgUwHg8AMHBkkH53ZgW8BRwKqxqTpu33ErSKWyzEZDiyplVGcs4uwAGBBHHK8k86Ltu2Uwlxz+CN+mZVzShsVy7i3qfnI8AcAggm/W+miR0thHEyP6kfqiORcLbKQBVPiqBDZck2fA131/4Y3EEIznhYjwkUb5KwQ4qH4NdoX6DLwebTwTNGDHGzAsGaQnub2fxxXK2PJ81lofVFJxiq2yvzhjBOsSRoY3i5YoQceAoNI2dcEEk+3zkX5OmfR+vOIyodGzGbBRYyZWUlSo8UIi3dxbV5pVPT0YKTkVRWNCzi8ZAkb/AFfOKlQODlRuiO9rLE7qjYkAWvLKvFLQxOI7R4rjitK5pEmk78B8vTzv4kaay0Em4Y80DE0ocAYijz2L55H30/2iRwNBtm9IIUPOUvrGY40Q9GPEkntAr9KrSDp3UYlcAxRrCqkExRWrElZArY/5ZBAIY2DyTV6n6pIWYNI8SsncFBQhhHk1lzRRfAzF0L+h0YZW6/sTks0l9y2QfD01IwjVQoqWNmuQMaYEMrY0FNEff7DVe3fTt4cQFMbqMWPaQWCg5AZd0ZPA8HtP1BOT/GssPqHbSoxd8mz7rxiwBX/WIiXiwOH9/MvwR8fHc22+VQzv6alExVQFRwWtr7vU8/Sv11RxQm9qrOOn9N3+3libONkYrmMzlRVQz8ikxYZBRd0eedHx7o7zcSLUsEoRlSVouMVYgMrFaosVOJHP3AOrtuNtHRBFcUD/AGFfeyK1VOh9K/gIu9jIzNEAjOcY1oGUqCaCqWIsV4Ue3Kbc4KKSabfImmnaHcXOyzN6YQrCmKqWOLE/ijvOZqvlBHmtNukRxfg4rIkjumJkIza1f1CwBrwhb/f+ngWfouzO9km/jJYzEQf83sVitt3EH8pUVY8nydQ9c+KfRlRoQrKA5DjEh2urZlGYYAlOasH6WdIlV7mByvgYfE/pbeAGeQRZmlwUEMWNkBOCW9z+hOvK54c5bjlJFcXaknx4uh7f99WCTrn8SdrBk0ywmNRGzqDI6Kq5B2qiSDyTzlqvQdOka5YxG699wMSSUzeuCKxCEe55vjQw+APJYI+noI1tiWAo0gAseADZ/c6FPREYkEsC30Pn9vHJ86D3/VnYG6X/AGCCAAOPH09h9tQ9I6s0YExlBGJAUk52bNkVXHH99LkGCwxbGbaRyRQP6Ydy7c4vdKpAf8opKsUeTR0w+Bet7oNHJJuHeF1ZysickAcAOSAGY40Ca83WlMXxGJIWBW2YKquG8FjjyPJq7ONa5XfPCtxvWC9qnjwOAftwBzxprBSZ630br/8AEyNgn4a5DO1YFlYqQCprmuP0OmkuyRzbIrH6lQT/AH14x0z4xZFSJZ3GCgVdWAPm+/1/rpjuf/ULfIcYsZFr5nxu/fyQf7adaqF2lkRTrpiF8n+mhdl8RPLGrxKqK6gjsphfsfuPGsWE+WOuqzymicbxfZcv1/7aPfqbkARqsX1Nc/0FV+96XgAeK1HHugzOlm0xvg13CwR9R5H9DofUaLaNb53RbQeo+a3ZrtLDM8e+N0PrWpX3IAJ8Ackn2A8knWpGABJPABJ/QcnWlcMvFMGH1sEH/iNYxqfdYLk142Lr2sgWfsLsn6aW9d3xwVUPD3bh1AVQVWTk+4RmPj8uiN1ljHgbT1Aj13ELRQ1Rvtar9xX20N0rpJdcZSykGUEAgq4kAbMEDsIcmrAPHjkaVyLQh3DpOkmRTzTHEZAUaDA0f6X++nKdMUowdqUjGxZ5bt8VzydAdT352sMbUCPWhjZmulRnCsx+vHv7XftqrDrU8kMzQRBwjrgLLd08gmBBschlUCyB3i6qyjkdGnoXyHzT7hY5TGVcxbqoiXoFXhCcjkkLLIbBB8E/TUHTmlUuoYTToWd3LIcCoVAoQlSB6c5b/dFnmtRdOjlj2k8U/YryRIkfBYAiM5JjRYeLAPs3gjQHT94E3jCZgkKqCeQSzSbeNCcBeBpx5+vAvwp11SYftFkaRYSYyFk3GS2rXHKySqxIFEF45VoeAV+41Nuumw7dM2IgEkckHaQDi5APaSo7WGV88XojbfG8EUasE/GCJE9lRkkbNh3FgoJyJAJABaiR5K7fdH/i/UZD6hYGVVZpBaSDJSikFEJwuuO6x7HQajy1kyTbKn1CKSCVl/h2oeFLoRQGRc+ymvr48+DoAdXcl5fSjdTlIVMoDKgUMBRWyMSAKuyrV4Oj9wsksrq1qVFsK/OmBwVUB7balJBAo34vXG8gWR2yXOmxkBAuwo5LDi2YO3B+nFadSN0reCfpOxkzUzGJU4kdvUJHpu1NZw7GUd3PsQfY6ZpvdsriTbGRGVwsIc2tFsG7o7BHpgAZcg2OPGk525uEkWFvsAt+blbGNVrEl2pauybJFASbaaL8FZS4RRHGpyHaMlXL5eALYVzdqdK7aG09unJOQDud80m9BcBzmFoEFGsgAWSBiTQs1X9NN/SC+ukZV2OdJahiloF+WiT3MR7UAOa0qnhj20skkczPJtnZ0VomCu0UmPnwyhuDj99Ptr/6rPNtJVmgHqlGUYFgCxzU8UcSKFcm78jSw05JHV631UNWacPAJ/iMUm4U4EFlUZDIIWMjqvN2qqfAHFA83pLueqNj2k0z/h2gyGLANkxBL2jEAgg2DfNab7DYRNGHMuSh6sIwuvSLAdh7yXontN1wfebZ9MO6MKw4k5YRiRbCssPrHkLweLGRN3fHJ0O+TiK/N1YF5vxWxKgqrKaaTnziK7QBVg3fnjR3SN8Wj9SzmTjS2EFHuQgKeDHjYBPzACrJFzb4J2W0hD7vbszmJmOEsgJdcbQKZAuRJ9uONdSfBKTuDt849qSEApi6MpcyMQ1mmyAsHjEfpp6VUjRk07fAjWOFAuSMQRiWsFWXJCuSNQADSsxa+Bfmq0z6K6lZY5EU2E/GxXIMFMjkgg+a9MccYgcedLd506dGo16eMiqO0jtYQIWNUmagNdcWASC2m3UumJHtTLHTeiuGamRVLg3eD2ZKNuWBtjzQA0sU+Cs3GsZHvwt1YOJBJK1wenSuxA4SOQ815BKobHmMn3J0l631R0SMNIw3A255BZ6xaR3a8QMHCgZGuCboA6D2MsX4PcI1jnWR3JUjEUkUbOxBWMBODYs2fc6L6z0KVix4CCFRnlG2WaIHk/8A5CAhYfdv66z4onyyq7naGS4lQBpvT5DCyy2oUm/Jri+fb31AkjplEtPk/hCwINefHsLF8Hz9tWmHaFuobSJz6bTGRo1QFXjj9OULYPK2ic/cEe2g22rKQ6PEyhmZh5dI8QaFLQLWzMTbfKCOdIos21CjZdPUZSq3KNZWqxAkeiT+a8bGPi+dHRbVGWMqXJl8L8pXH8M5kfdCPHkH66j6RvjHCzo8YWRochJ8+JYOVC0aQmyTx+hvTPf9WikneTcOkMjoCgZ6C2BVUBlS+3Fk6bamgJ1yJtz0VQ+WLBak5BDHJVJAoXQ+Uk14NDm6StgxBCYHFQ1tkPUru4Hy2bNNzyPGnu3M00jpEnrDkMQoZSCMvJ4YnzV2a8EaGUyRMXl283IKC4S0Q59saxNjmvp+wg8ZRpU+CpQ9SIla3IX2H3J+/ihr0Dp8oGwkidFZpSjBjIRQA4BFUTTH3I7h9NVH/wBoktykZB9/UcH9KP8A1026rIR3t2UVFA5DiiTZN3QBrxwBrTkuYiJMhfYytkyJGyJ5F2QKFCuP/PbXWy2HU5wz7fZsY8iAQkZFjg0ZBZH6Ei7970J0lX9WUqWIe6LEg0fHvxxr2D4f6nHBtoo1kelUfQ19R41ya+u9FWo2V0nK/a6NQQBRSih9tc73demmdFgGXKvIUkKW/wB28j9gda6XI/op6wqXEZ1RGQ8kH6e/jRLNftr1rPF7mWNRk91+5Fft/wDupEgvzoiPaj2s/wDD9tKFIWbsuXjTEtHKWSQgWEtGZSa/KcSv6sv1002HRvTRVzJCqFFkk0BQsnm69yb0SNuv0Gku628pn3aAyAPt0eJsSYwxLK6eMbOK8E8Bj4uyC8YqsnUfQD6LWfxfUjLMPMgidVV7AAzaJQW482PAFWKRo0jaQmlUFjwfAFnirJr2A1WJN8Y22UskqLhC38SGfHj0siQnuSyXj7BSR41V+ufHDPI0sJlSCTbKzWFrFlHgWGDh3C2GI5aufCnVGLYy+Netod2kaXxE6A5j0z6iKUYAeTmyfMPC2OL0n+DviFFkWJw0pzPqYl1yxvFaJCZAgAZEGkJu24T9Xm9ZtqfT9IvtWQAsFcTJlHFkZAClMqFSWr2Hitbn6NI8O5waNDDIHY5sZCuHpSsGUlsFZSW8iyTdVal6pUGbrrrb2KYsoilR45qYFhUivEqKx/IAUJJyBZbx5ICHedRkWZg7ktjeQILepTFOCKK5gMaAsi7vnUhT0jMzELUDiP1Q47ezFY6Fepmh+QkVldUdddZRo5FvuCfNkSRLEFr1fxK8hfHHlqsFSRT3WuBk0o/Mzbz1HIwjtlVc1VWR1LteAAr8MuxITg8VZ1YOn/EboSVeRSpCo4BNxmTJqWrdQ1D/AHQKpq1UJdw4zU4liM3BQePw3plbsKqysQKK8tiFB5Z9PkJDSPkWwc3HRN4t6eZemkfIljbse7trwC8BXuwWDrPSz/Hum22ob1GJZ1rLFir5AepWGZyPtf01L8L/AA+snqmWRgYPRzCkBs8EtjSmzbNyTZKkke+q6vW5YgQrGP0oiqqDUoDDJFIFAMvoqSVskHg2ObbD1fdepP8Aw6tNCLLUCxkIABKNd3jkL92APubMavIs/asB3XtjAJlhykWX0gy4oXdTK6xZX8qq2A8/Q+5APkvU5n9QKiyFVN0DTWhAJy57sqN+3HA516b8X9PlZ4p1FsFGaLVn0Czx2GUH5mDFfluMc3zqqfF3w9LuI7hVXG3GUvdyWkPzKoNdqim4BpAea4MX2FnwmKJeiuV9T8QXC7HvuR2CNK134BKmx54PGhtk3B9RJBkKIWrC2AGGRrI4P5+/sdQs+7iQxpNlEwaMsh/DoqS4tlDBcWJJqq9+Nc9I+JHhVYmClAaBxBZRbMKNiwGkc8/zn24074JxlUrGPTN086MqcHKBVDX6ad5BZ2IpVOCWzWTVEnwbF8N/EkcE0Qdcyh9QyKWpWZBC0oWPiUsGK4jwEFZG9Vb4f6gzMIZZWSIuC6gnE4AlSQBbKDdj73550w6P1l52ZSMUaNsmIY0a7Bjl3U35j8wNHk8o1WSikpYZ7Xvkg3xUeorNt5gOLwMnBMZPIY9oteSOLA0D0zrboJLhDom5SIPTMXZ2HeAOKOZxcCj22RyR5p03dBZ7iZizOxshAnrrI8tCzQDAIC8bCgvuLOitv8Qgu5bAhJ/VUSAAGcJ8pPCRuokrkVYNCxwg+3sy8ybs/wAdCcysSybhGOR5czLuMaAo8Ko8jHE/prnqI28kqQo7VMrSsJCTSxth2gg9xYEUK4LEcAjVTj3AZMXixkO3LmRhciupjODWAz4DgVxcrXRFnmHf97bpQ0W4jkqKgCJAMm9Jq4h7COOB+JRBsHTKnyJtayh3/wCnkG2bayvuWS5JJSVJqMRx/hkUTTiwxyq6Kg+Bq/8ATo4/4YCB8kC9pBLUCMgODY4I4sHnXms3WjJstjCXSJZUHqNlGHMzcucSKHcxoe5YkihqxfC8kxhlWKmhfPBmKmgYkSIqq45IMKIyWyW54Fo6WQ7Wyv8Aw503cPM27khIsSCIvMQ+BXLMee3uKnwafi71Inw4rg1IYpppWjWMsuILLnI6j8i/mx4N+RZ1YW+G551haaOFJAHWQWGRFLGii4m3KKoyJtQ8lHnS3qHRpEG32rwxS7eFo7L2fWW7d3HPNjIgAksa8aW48Io3KTtiLc/BaySkLNDHIqk/w54d8LS1Jk7eFs9oAsDjSjqm1WSWRD8ykdp+pNcMPp4u64OrbL13c7qKPe9Pizji3EpxoKX/AA2jFlmAESg0eLtAa1fJkh3O19aVBXpljwMlxBsBhdEG/BrTtWQPGJNq0FvG4j9PuFOMhgMSavuNg+x4OrB0vf7ncuI19KVQKYOny2Ls0PPvq19K+HpYURpVWRCciMjSZ9xLLib5PLDwNFQ/DEaGOYIcgxPabA5Iv61Q8eNLWDWU5Pg3cAlWRHW/mBpq/Q/8NI5unIGCgkOxVxmeCoAKsB7CqHj7eeNeo9S2ySxyCJ2DtS9rV5IBPJo0CTQ+/vrzv462bOzvH2x2YgxvjABvp4yFUDyV+ulkqyg3YQ3w6VQOSoJFgCgCPY3oKuBbYmjwWA8Ej6/bQnRdg27VL9VSkeC3mvcS1sGUUQt/Kf5vfU8G43aAqXmSiaUJlQ9ucPNckfUnWjHuxWy7xrfvotEGounSRyIrobUj+o+xBFqw9wRY0eq66jzVExFH01J48D9tYkZPgaG6l1yLbNGJQfxA2JAGNgEhTzdsQFAANlgPOg2WhCwnpm4WeMSRsCrfuCPII9iPcaS/FnxG+xlyOPpeiS1qeHshDfgFmsAEc4HXnI61uWimEUvpIkonC5qApkJVKYfmWSMkjJQbJxrgMOufHj7mLcwsuJkYekUCkqpssr3w3KHkEkgiglHSnStOngtE/WP4np0e4OIV45Y5RJ2lpPSeMqAKY5M1nBhwOPrqizdMUtIFiEeGA5kyRVLUTZI9SlQ8fa/5dG9N6IN9t9r6EhCQrHFuVBTlpHhSQhhIXBJjDC1AJFjydKd06ruwuBxIdVBIEhAciNyrAYhuSMi3aSe0aDLQRN6yLDYhI9QzANgDX4kRjay1FrhIvK1s91+ROnTOF3Kq8io0SgyKeQGdXUSW2TENaUvnNya51Pu0YbHb4yBkZ3skxri4YkgizZBfiifJ4B4A/Stm8hkVZACkLOyNGzKcGph6a+eVUlqsWPvrZHwa3ziRIrxB7VHy+ljGQoUHEEAZMSfb1D55Jmh6wyblBgSPrO7KqH0wgQuoPaCCABfmuSSddb/ZlEeLBFKOrj0x/wDWUX1BRkoMAhBFZEp48krpRuSZJJldY7OQU1wiswvPIg4qAAR+UD20Ld2Ua0nBJWpd+KGcMBuOb0w0MilSWVm+VSuWR7+aRgQRfF8HRHSd2rko4haQoo9TJUIPqWxvlWtBeSjgWeRyLFtN/tNntA0SYyTQxsAJlZw8q0rhOUDUoIGJXtFAmxrXWPjliZikZWMxhS2N26uyOoeNWxVlFgMwu1o8nWrIq1JOKTK4+3e3AjIU5r+ICqlkGPyADGigWyD4I8HXEXUkjhkWeCyNr2DAtiGkxtQw7ARl8vA4Nn2Ih2bJJt4payWX/MDLIBFIFoBWUqQFZsiR7P4+YiT7g+pMIZGZs5IhaKHkxYAH1CpByLIbsGgSTXI1UC2y7xdflXa9NRVBEtK2WOLKyFUUkng2yrR5sE1xRqm46cYS6cySyAxkyEMsbqWjdlQjFgzE2GuwSOL0p6VuiYDODNEqPCqkG+/H8QBjygMbDEe4I57dEx/FEczi/VzVTleI7r7iWY8sSf11rafA+np6coyt57X9RH1xGiB26kGOw+Vd5JjVD3Xyhx8H/mdL5OhN6ayIcuxnIPBAUgUP5idWLqO6gaQfhu7VQCyKW4HjEG7r20u6h1BcYgiSQ40y+orU4ZxRBAsVywI84kea0252sA6WlGErkm6xV+V8kuLAtpHJECSKc5RkG/VAIXjHyAbC/XytVemLdAwPe5VaKnBTJnJTMyKIzynbRs/cjyAX0dY0/ElUM0cX8QCpag9s8YYmmoKihV7gTKCb1F0vp4EDZFzKpe4ngLRECPOjIBauwDdysCo/2jqsIbld0c+EGxQrMaLvG0W3iLESIrM8liRaoYIGIWj47vOeuoNs38SYM09ISJeKogWjkKo1ZwNsxqr5Hvrp27XcFHKj1I7YMWelDEooruMpsHlQrEvyTiDqPcbKNymRRoI4EEg4zVmV5FDMnEpLqWsZCl8CzqL9rpleVyMZdxGjHECVg57ZEqFcFDsOSAjdqmyT4JBGdaD2O8YRRembCxZhhEvJ5dlAFFwrOIihIBxY15szb9Qgk3ZfKPCI+XQoZC4K0UN2gVSCCK5UWND9I6QZ0Kx3NI7I0K2vyCXkEo1KQgZitH5iaOlk03gdXQz6ZvWEjMXVUVAqHEFnjlaNsB8wUM4KWWIpwFC0tMPhn4wO23EUcuCxSs4BXhc2Kngex9RmLCq7gQfYC73fGANGkapHSeoHGYtXZ40IZqEkbVz3Z2ee3gT4T3PpujzK7LKBEHW0LNMqMFLMe6OwCGFLbiguR0jTayG0uD29Tf8AYgiufeiD7f359tB9agDRE/mUWv8AtAeP0OlvRPiSKRJDkqrG+J7gQpoHEtVZDIce11qbdbwSA04FqwFYkgkcEWcSb55se2p221HgXbWRbsN3hE0ccaLlkz+QCSS7kAA93k+9k6S/CG+jR5toJA8BkZX/ABgXLnAuFFBsBVcAeTdtZ1ZUgUng0R4Ni7B4PbwOKPtzfA086ZMDwwXP60Lb78Dzqrl7tpNxxaCqBOPfX2JH9wb0snWHblmkZQCPB5ckHkgDmrr7abhDndflofuSf34/bUG92UUwHqKHC8j6j9ua48e9aoiB53u4USb+I2O6RQKMkchJbAfNQbuurq/H1rjSqPqLSQ7aJlWMHcqWOTAvTF2yIII+bz9SPNVq3dS9TcsySQhFmlSONDRkMYKtMxYNS2ikYjwRySTQq3UPh/19zOEIRIbxGTcsfmGd3+554GjJJDcD2FUBZlZ+LBjDHG+OQPJ/XzqbbzKgqpASbORBN0BfcCa4+uqj09WglH8RFGVJ4RlJk+xF8f1P769A2nW45EDKhrx3LRH2o+36caigsrnwbs5NrB6e5xzytcPBUi6P+sCSL9wE+lCyv1CJGRXaNDJeORonEW1Enkgc1rieIBHJOChGJayMRjy3H0HPGvIOtDdTGGCamm9NaEgPcU9R7YjtAeInigzBUu2GWrWQjHdlnpnwj1d2aTbbl19eOR1UWgkZAA3KrwWCspLAKCGHHk6i+Ofh4b7bB4GDSxMyoyEGiWCv491dBx5FEfpR4opW3G1DuwmQKFkIdZGjCEohSvqmHqVmQwJvGw56Z1CeCPqZBeM5LJDI6ktIxObFldflAGLGr/ENHhdLyX2UxV8H9CbdQOE7GBMcgMalSRTK6vVKeczYU2f3g690k7GSNfSrOgpD5CTCu/EilOUl3xWRBFeWew6h/wDMEm1SWCHdgdkbQ90lDuGRaNCS4v3o+xGrf8Z7JDshJPHCDEysBNJcYs4kMa7zR4XmyBoNsssStnnPRJ22zJJIrdkzJIWLUVEazKuApSp4+Y33EixxpR1rrLjf/wARtPSsMPTK92NY2imgrLk5UVVhq8jje9ZhFCaCh1fAIgvjH1Bxxw6VweKAF0dQwSAieSO2WMxu4NgW6uj1VEKSQf8Ac5JuzXSklLLF1I2rRZf/AH9DMjmXaNK6jwcSqSc0SxFiiL8A8aQbbbGOgsoWV4+1ispkkWYiPFirCjZ8gHnKzxRabtpd105ZmjJxxUSKVdTjaySvGyAqw9Pgo3/2fbVegQYP6gyURlaq6YKQOQT3gOwUnhCycEeNPzd/ahk49o15yG9Mkl3249MLk5QKcvTUIEVwfPlu5TyC5IaiPIY/D00kdpJ2w7gyRzJKwC3iaYsB2kspQPXcGA5oaS7TeTYtEQY45Emb0+LsrmXf8xNIFDMPrQBGmMe2PpxMxyDZDLtyzZ3aig5x7gB+w540q1OllK7waEY60+m3WLRv4hatwY4wewCNFjjcsqwMwVASC1jIAvVMReXnQTThMY42uNlaYhAAkcmDSAhSuXEUSNiWpiL50b0/qypT2qtKcBI4yIAIckH5s8VoEc2eOaGgmWVxB6MiqXTEqeIwYyUNccqAxYkmwD9uZrU6mao6NX0/Rltu+CXpPWZpAWUGhIGEhZiVkxVFHqVR5NhOOGa7A0d02MSTxxjsjENn8qo07j12Wl+XE2Aa+QAeToKXaEqVVZvSaRmmLtGLKA2+EfFE8fmHA96Ot7Do77gSCeT0pVaKJlkZKlICVbGQPl4PGVVQ9gHOd+CTYbgAwhS3pybhm+aQ20bB4xjHLiHRQBnQ+axeJpluOrvvPTjhUeskoRHdIhA4ckAP+Fziii+R70DYGlGxiYNGHchY2ZfwzgSHvLvC/Me6uD4486m2O0yaSOGMlwySxrZ4UBLYUQGYAtQN3R+oBXcrBXYN33Xpdn1Hcpt5FitlNRpG6onzCiynBAW8AAgVxwNJOt9Xn3UUrbm5ZY8ULYItXkS+IUE0FGNVxISfbVp2QU7ZZJXXlHd+xBJ+EBEM2r5RjZ9yQBdAgon2iTAO1hxMY5Fyq4wFkaiF7QxLCyGINe1AM5WwUksgvUemyRbYxtzLKNrDTkKY8F9Vh/LiAIxZJqybHI0rXdusKGGNkANsA34bkRC3NENZBLWKxyI1aN1vEidJYzGDA00wEsh4Mjmo0BFMDQJ9z9rJMXoXDHuJAAWdSFE/nJbUhEy7ivBDRilAFAAHRWpSrkZaSk8OgNyPXphLTkYshfwGQBqFgByvcaJBfkDxqTZNkc41xKRusORRYS4CsxK13O6S9vPdlyQAaI3WzcyMqp6iSqfUIIWJm9SSaNcwSA1xs5rzQXjUXUFhl2+3jhiWP1WlEchY5mSywJJAbFnYIvH1JHA0n0Gkq5AN7B+AoTFTIkSMfUpywzUtwQMTfOYPBADDnTCXdbhDEBGyXAYoVW8ikg9QOsii7dVL2eFsk1ydQdX63EHbJpFxUIuC42uJBTFlFgNZz8kSt9gOoIWO0k3FlfxlXbvkFQ2zK7EHiNAPF0MjQ8UTVIXdk3t+oBIWamUtt0Xljkxp4jNyCoLFyo59ru+NCSy5Sxicfw4lQJKQrHONVC5FeGQAooryLJsg8u5tiU2areZdIzEqD55ecXZwcmGZL+StmgdLv8UkdJ4z2MZIliydmQuJD6jmRgclGPuaA4o+SYuOb5DJSxXBGxdFn9aRwkR9IxjFsmyDRgUbZVWJO4qvIIu7Gpd/t44IY5Wj9SOTxIAo57rXAtlxg1miPvzrhoPUaQr5WLl4kEls5CAoQQzW5JL1kC58itQy9HMbQwg+pkiyO8RMhHBYKAEtfF1RJsXYFaCnQHDwBbXfpGcpVyUk0F80eQPmHjgWPOnXwt8RGLfJOqtguRCP9CMCPqCVLc88/bQP+FiRWlET4RyBBWbFLBP3YgUASf5hyNDDaqsyotBucqa8SF4BvwwyYEexBGi2qErsfTfS+px7mJZYmtT+4Pup+hGtwbZyX9QKcnJqie0cKLNflHivJOvAOm7t0fFZCtWD3NjbDHKgw5A5B/1R9NWzp3V23G7jdJHwSWFMbfxHgGsH5rALE1zzpHKuxuna5PTetQRLE0rop9FCUscKcaFfT2Gqr/hDxbGN82QumbkBSyO/cO1gQVNhGxrwD9dC9Z6285lh9LON5UW4wWkQEnJHA5BwFiv5T9Rdln6ltZUKt6qjxRTcJ54o9oNf20yyJOLhhlO3W68pKoDWCGUDG65u2Wr48H3++tRb7dRdqKuPse7kfXtPP66F+INzHFKsSMZUdQFc9pX7MaAJHjI/8tKTunHasppePav6GjY0lO6oB62rfcD299Vv4w6RCu3l3IVRJFHkhZmC5qxZBQ5ouxFDzlXvqly/EsW96Z6M83pbiJ0aJ/z5R9wZO4U2Ni7FEjVm+GviGDf7dtqWlDlCozI9RggAZ1mW1fyPPdyby86q1QsY9ysdQ6usmyj3DyF5nkaKY3RijUhqUoiubV14BJqV696sfxHvS/Snkf09wTGhT+HZlYIzYCUA3mVZgcSKJBBPnVN658NS7OHbKMXfbOZixjYM4Vg2fki1sRkeWAjv5BpEerzxqgil5x4jXFs3ZgPS9JfJBkN3fdmfmAGlLUmsYCtruXh2wdTLFJHuWbMoCpBUFWxdLEhMagNdc0QfOt734rn3SIHkeQlmjVOxh+IAotQoDseApNVya50u2CMVnjd7jaONnf1e0MrkgOWZQ95UQtmyAKJNcSdQIjk8oQzeVAUOSoBx8tIoGRZicS9+eW3yH4yND1hfTjSRRGVUoFAdmWaR5iWsyHO1KFgSaZiKXSnZloVnjdqXCwCynmw5agTZxSiRda52chZHU9tIG8HJgXTEkgc4kLRAF2ODqCWMRt+I62B8rEEsbalJDWoIC9x/n+lnW5wZvaO9vstxtw7ruhijBVgWSRlZ5EyCYJxkAWYkCrQ8g6wo7ONuu1EjHcSn1ZAyI8zWKrOqqqtsr8UTRAbpJ9XEhvQLkhowzAxqrFscmGQal5L2tHxfMkm43MqxL6zn1y0qxBSB6iWbDUAFGPzZEjEE8c6eDi1kzUrwPdj8HbhZA8sbYwIy9jI2ScoLUG/lJY/ZEAo+COpbRBIMExjIYYh8TCgkYWqlgRK5VlBsUFckkXpDD8V70EbV3c5Ni0ciq11+VieWQ+9tiQbNjQe4Mn4biIDGNV8XgFpmHaAaxYWPNNR50jafH5K1tfKb+RPLB686TFmb8UOAFohVVZJZZFWwi8pZVgRZON8Drd74Q+lFgWEEryAKoJSK8vJskG7YeL4J41NN0aXaSiJzHOkzgFQfxWQnGN8Caj7gD818LdUNCpHgscqxZwh5jlRyCjyshUWB4IDL7L48aFrsIrvOL8h2x2KSQTMv4ipKFU5CsVKyKqu1sGtnFsoVru78a2W5SKYhkctRkjGZUhzTQoyk2QlkEAg8tZPFD7Hp7vFxGkULqGEhoqzB2Z29RawVIlZcG8ZDwXGoOp7ZiJWZRapHJzioxkJKlRnTiqrHPx71esZulQVudqZNqkyEByzh1BW7XHtrhsx3GqquebLMJC8iGMo2MhXgliCB5yBAsEEMOL8gjRGz6o0W1FMGzlXI/KeY42rEMMyptcyGPBqhrIJ5hdyRoCWbmQfhRqSGYBbLp2hQTzkKI5s7bbyQynf4CY0eaKaSFpMckXvpiCR6khwX5QPUuhfggk+REJZYUijxJdS18HhixHN/7N83/TU3TJsCyZMLtgzks2ZVVLMoouQqmhxybF0LkChWZQrOWbtZO3mw2KyZZOVoeAFNe/nSWUqL7le3cLNI6+mWSwrM+V5oVEndfa2d/fu8V5d9W+ImklhEyMACS6JxiFHZgQvaqgquQ/Knn31Bvowq/hoGFBhGcmc5cBji/P8AtUSfrS0IP49TFSRnInJMGXIUlYkA2UkZ7K/rwKvVFkEXtuh3LupPxaiYYhDBeIwT0mRcUUlR2uSfqMC3NAqthvGbbGF8o2EqqXYglWkdmaw7KYipTJiLsE3Xza1tRMUjY3x7R3m7u/pvkvBaUNFdN5yBJ45yLpon3EvrPUKSepJlIBwQUBAUm3yUIWBPze2lwWW5q0dbgJBuzCIWklkDQ1atfqMBG8Ttfzg1X0f5jfDTqnR3hhhhnLxOEaT08R6eFsSoKg5PkVBp/BXtHDaVLvktZIY48omKxBo48WLSO6B4+RGUJZVYkEkjk1Wo99FLDnBm7kJyULvGWlcR1nXiolAb3oAVp6TJNtS7BA6oxDSSiV5YyrTFi+ca5dig1+GSOARiO43yNHdRd/Q3BQZmWnD+mFAZGQlRgSyquYKgHzbEnMDSr+GEMe6UoBI0vpFslXCIx3woLKYwVIPPPbZB8HEesXgeSPawWhxdlJZlxCYkgyFnCgF2NAAWSBjpaVjqToI226RVeVAxm3Kyqn4vfgiovAo1KJQVBagVJ88g66LDMduZAEkLsEcFvliUYJEMTiHBLDv9ifPsH1/p8yiIDamMq0ah2ezkVyUEAlUvhrSxRQGtEbbpMke5l24LkGYHllpiQDZINg5V9Rx+p0G8GwshvQ+jzIZmdWVkkJjGB9OyrKe2OzQlKsKIBw9stcdM7dxLNvIFmMmd+IwJKVlIYkUmClKsnleDzY0u5dtwUujwoOR4I9mNVRo+9EVwfGtP1VzKec1UgICQeSSKx5BvJua8AXqe51wS5yWLbdM20uxsi5ZVOLqlViBHI5KjFQGPCWcsTWV8GfAsmz2m1IaCU7ko8pDRysoUlggEigqiEALkaP1rVe6d0x5dvLEajEKN6ZIyLS5CUluCVBBKkKfN2CfLfY9WWOJF3cjrlC0XYbUGalNohIIA58Gslrw2mTxRXbi+5L8Kdei29fh+u0XqEPGRkECBRmWrEhB3fN49rrXqHw/1htzF6hheKzwH4JFC/PNhuKIFVrwfcbNTPJu0iKwLuDgoZUiaJXkhAjwBYmgbAI+U88jXo/wx8RxQbYgTbg+ngrRywtcRLBMQS2PDHxkWo82dUS7EZ+73Fz6xskkWmiEn6mjV+QfY++vOupdKi9V+2OTuIB9QqQB24kChfF/73nXprspJU/MBZH2Ni/64n9tVXrOy2iy1Lt0LUO4tCMvvTSK3m+SPIOiSR4MFIsqHCigSfIv7gUPBoeRXvWj9t8SttZ1mgxQqGIS+ACAPT7vmDHnj3JPGod9vFlQTGHEs7kCOZFjBUDJjFgWUG7ALi744GlrgSLYP6H/iDXNEfT66PJTc48HoXxP8aQbzp8C8zP6mLZCSL8YAY1TUeGYiy3yi6JB0kbr5VoY3CF9uJQk0ULM0fcFWQ18xuOgQFPPd918kjKtUpR5FkVY7HabRXWOjgO9qUjI2SQaB0qXdvllmbyVkYuMUbIvZJ4u7NHm+a50uClYJd1EzlWCMCUUKSxESswJlJJsUBldMAMWJ8Ea0kKOm2FpiqyWFR2IKuSZXAFtnWI8UAAaAvRjbkOmMsglp7R5GtVC2XkZRbMXNWCCTiSCb1x0d1dhjElorFlAILkuZAkar3M1DAZE/MOKAo8mqgjZbXFHWZvRLYBMyoYD1M1DQ8MgbBBmRiASb7joHdRRRuwKKrOe8yBmCqwHKqnPcCSLo8g8cEHKjs0800fC0DFI3LSp6eTfQjgsw8AuF8eB5ZMpWAVGtpFRqpWSTIZKuOUhUENlfAVQANI0FpMY7uZJPUj24/DZhkjKVhXHErIbjDBiqUQS3nk0L1N1jf7fcPFBstv2Ia/GYgEBLJJLkYFQ1NxzXHjSibbJHeLBgSy5Mvc6+CVyFRoGAa2I7X82DrPiDY/wsyII5FZUOT5G2PNDgUhRGUEDn6862nFRVIE8dwrr25iVI5BGwf8KSVCmA5DRlQW5xKrSsooA+55C3cTKk8aMzosRxZkbvViS0rA15VmK8DkRjXXQukrLuNuMi3Kvl5XGNe5SCMvnVUHtXjWtltLkVcmeR2ckEcGkLEE5d7B1XHjzfngavpTUHdCyTk7C+oSYRZlEdKEaqwbJQbbNCGFHFK98cqGmvTJWi3LelNHHGUkEiRqWWNQiyylchXpEqO6zytV4qmbhmztuPSoU9mypJrkVXFY/oPHh9s2PqBiEaOOJ56j9PhXjzKm/mZTS4t+WPxR52pKLVRVDwbk7ZDt9z6m8R5hn6gNkLw0sgIEjAnvNOG9i1AcHRu9LCKFSyvhGHDkXUbdvgjjlWpRfnkjwBR1JnjaCS3W1YkjFjS/iU0g7GCA+aFr4PFm7LdwyHdOUKQpCWEauTiz5IkIYqcVJIBIq8BYIvUJWGDTdeQKPqZC2yBkZ5FIwjAWV0Xuyq/JF2OQK9zrIpGMdwsjy5qwqKse4Dz6dLbkgWRwb4JIEHSzI0QCqSgaRmvCs/TpgMgb/Dw4otdlRYvR0MLQzOqUU7mB4A5ziT5+00Hb5uOTfm9M8CJJp2FdH6iTvvTkYMxcDPkWWpTdMGHJBWjd1q09X3wVU4BF3Ry+QGkVvm44eyQL48aofQZfU6mjysopnlLeEGAaayAe1Rjdc1QFaum/iLz/iYsywIpYYm2ZmcscRichi3HBux7HXR6fRepJRic+rqrTi2+CHb7yBlknSGEOGjRioWnckl0y9MYlrHnEGuMTwYBJs1cjBQ3qOnpxyqssZFjgqykg0RVE80wHuUnS4sWBQdwAYC6YLVX9QK4+mhZvhbbMb9Ojd8O45+vDedeg/hur5X/fY4f/R0vD/H+zsdB2n8MqlGJeRO5JSQGrEBo/WLIB8tk0KscDkkbJHftMgdO1UJUxAHuyTKMqW7iRWVlvm+o7fDsQVVIYorZhC7Ylv5jRsnk83fJ+uoofheONSA8hDckMVIujz8v3v+n0sFH8O1fC/kePxHSXDZPtemR+hHGZGAdmtW8vJyQGbBfUClTiDXF8EAa5g+H5Iish3jGRZXMZdUOLgqkiP+JbKQQKSvP1JGotp8O4Mv/wAiZwpBxdrU+ODVErQqiaon66edXVZlK2y3K0hKt3d3lDkpBW1Uih7DSP4drJfp/I8fiGk3+r8CSDpmSzhhC80rOLJwj9PnsURsQFsEglhwa4I1INqZduqYhJY3ctiJcZFkUrI5DoMpTi3y3QYmqJ1Ns9jIiLGZRQVvlQYlryDY/lOXJo0fp4qJtruGhNlGdQFU+wClSinFQQoK/Uk39qM36LVX+DKr1ulzvX8E3xLsJWaOWNIpFJje7wLPaqRID5sqI/via5PPLdHlk3SyM5hGLMpAQk0R2rywaw3d54sVzzztJZ1LGSCJyVGJWRkUPVElBwynk+1cfroqVyVSsmtLdCTiHLC+bN0CaNeODdnU36PU/a/4GXrIfuQm2HTrXCSCUD55CA5PzdguzmxHNZcf00Ft9mUBwj3CU7LbxRX3tipNhZKojmyASKJrTv8AiiYijRNyaCmMMoWzxQGPIo/a/tem/wDErOtq+KqjWXullyJVytKVxIGQ9wV96OoPQkrw19UP1VLhoq0U3orGyIjKvm7IfiyzBTyxUXkbr28ak6/Cu9RBA0duEDxrKva1hmKxyOGKLkR7WQfHnQXVYp9ssa+m6SS2zIw5YBn9MWLsnvIBI96sc6nh6pHAU9WF0kx7sVjCk3xTC7NWTfNjyfGoK4rgdMcz9LgjgjSKbBdvI2UcrKpllq8mZW5bEcUTxx4ABWdD3EwA9NnUyTc8qWkjbM0vaxDjFiQeBjfFkaD6tP6qkKjCNznZJwLd3dRNFqUi/PafpovqvWoY+nbX0dsU3CAEv6dRDEY+oFf5ybDWAQG+b7tHPI++uOx6l/6d/Eke6gcgsJRQKyGzgsaohDUAysFL2Pdzq1yS2e0Iw+t+/wBPl18+fCO33Jgk3EcYdlBKRnIiUO/eQoN4Eqcl8NRrkAj2zpe93fpKZYtuXIu45ziQfFBo7HFe5/XTquCMk+fJ4J8MdVj/AIXfwS0C+BiHIJezERV8ghuQTxZPtpeqGONVMbiNcrfHt9RiATmBTfKFq+DxrNZoXkqv02S7a/XDOwAWN1piwAbFlHyc2S1G/IyvXG224JMqGjt2iYljTv5dyrY/MDyDVBTZPFnNZpmHTVqn8wbpcPqTg0UiRnlNUzBF5x7j7CgSxrzZ0yXbxYeunDqLTEItguO9kFYVTIAoJJVjdVres0rYYpIYdWtdvEko9OVoJZIk7SXhljYLeAJSS40emoFW/mGq3toiyukjC1jXDzQSQmRms1iCvbdG/UUe+s1mmqhYtyZNJL62cjSFnLIRyQwsMMAxFhFA5a/GIA1x1Dd+o/agVAvyqpKgjmRgPC2RZxoUAPbWazQCMOk7DJdyWN+qoRfymR2UbmgaNfIL8JRBPtqP4a3cyLM4iWWBBciOFIxelYgHy2K1+g+us1mj3BeLOpdyajaKFfSgObo5IjYq5EbuxI9Ru70qHP4ZBu9DdY3RO4meIs8bKY/UHi2F9zAYk+f1A1rWa1CqVjPrceDJGsoaMsIczF6bmM4jI4t3x9zCiQ3t4OuOudbwdTFDDtWdSjekArhclNlQPwWIquSaJsnWtZovmhmtqtBvSPhn+HA3O5aAxY2AwZ5MziFBVSMTbEFrYDA8XzoXfTn1lMcZWM0I1JByQOyHF3sOeQbPF37DnNZpHyUS9oX8PdPEE0sk6ZhID6i2i8TMgILf5asEZrHjiq8jVgVV9afEswV1TJjy3pxol/Y0OR9b1ms16Xw/+6vueV65/wBJ/Y6La2XPvrNZr6JHgvgxZiDfuPGuktiB9dZrNOkTbJZF54FDWpP7VrNZpuwq5IJJhXg3ruGTgk3X0vz/ANtZrNTZZPPBz65PHv8AU6kgBIJ+n/n76zWa10ZK2cSxZWCSD7MDzWu9i5jcV8osMAeCpFe/F/rrNZoamnHUg1LwGGpLTmtvkB+L9hGIxMMh/lBpInIX5SsbleV8MyeDWV//AGEijptjKkkjySEIGJIid0D84qz3UeYHnn9ONZrNfHyj7j6mGcEG2mkDRy8MIqVQfGIYtiQtZAljdnmzd6fwfGQEhk9H12nVoiJyGxLNXYVALL3UQQLHH31ms0haqWPBY+mx+ohT+GCSze8bCPbsYVuyGQYRY5GrHhio8k9y/DW6kCeru1/DQIgiZsBGvygNGAHAJPcbP18azWam5OOUWj7nTP/Z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6" name="ZoneTexte 5"/>
          <p:cNvSpPr txBox="1"/>
          <p:nvPr/>
        </p:nvSpPr>
        <p:spPr>
          <a:xfrm>
            <a:off x="155575" y="2082635"/>
            <a:ext cx="874962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Any live cell with fewer than two live </a:t>
            </a:r>
            <a:r>
              <a:rPr lang="en-US" dirty="0" err="1"/>
              <a:t>neighbours</a:t>
            </a:r>
            <a:r>
              <a:rPr lang="en-US" dirty="0"/>
              <a:t> dies, as if caused by </a:t>
            </a:r>
            <a:r>
              <a:rPr lang="en-US" dirty="0" smtClean="0"/>
              <a:t>under-popul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</p:txBody>
      </p:sp>
      <p:sp>
        <p:nvSpPr>
          <p:cNvPr id="7" name="ZoneTexte 6"/>
          <p:cNvSpPr txBox="1"/>
          <p:nvPr/>
        </p:nvSpPr>
        <p:spPr>
          <a:xfrm>
            <a:off x="1907704" y="5085184"/>
            <a:ext cx="8652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Gen n</a:t>
            </a:r>
          </a:p>
        </p:txBody>
      </p:sp>
      <p:sp>
        <p:nvSpPr>
          <p:cNvPr id="10" name="ZoneTexte 9"/>
          <p:cNvSpPr txBox="1"/>
          <p:nvPr/>
        </p:nvSpPr>
        <p:spPr>
          <a:xfrm>
            <a:off x="6516216" y="5085184"/>
            <a:ext cx="12241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Gen n+1</a:t>
            </a:r>
          </a:p>
        </p:txBody>
      </p:sp>
      <p:pic>
        <p:nvPicPr>
          <p:cNvPr id="2" name="Imag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78344" y="3645024"/>
            <a:ext cx="1323975" cy="1314450"/>
          </a:xfrm>
          <a:prstGeom prst="rect">
            <a:avLst/>
          </a:prstGeom>
        </p:spPr>
      </p:pic>
      <p:pic>
        <p:nvPicPr>
          <p:cNvPr id="3" name="Imag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66296" y="3645024"/>
            <a:ext cx="1323975" cy="1323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25347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1331640" y="980728"/>
            <a:ext cx="5940152" cy="599478"/>
          </a:xfrm>
        </p:spPr>
        <p:txBody>
          <a:bodyPr/>
          <a:lstStyle/>
          <a:p>
            <a:r>
              <a:rPr lang="en-US" sz="3600" dirty="0" smtClean="0"/>
              <a:t>The Problem</a:t>
            </a:r>
            <a:endParaRPr lang="en-US" sz="2400" dirty="0"/>
          </a:p>
        </p:txBody>
      </p:sp>
      <p:sp>
        <p:nvSpPr>
          <p:cNvPr id="8" name="AutoShape 10" descr="data:image/jpeg;base64,/9j/4AAQSkZJRgABAQAAAQABAAD/2wCEAAkGBhQSEBQUExMWFRUVFRgaGBgXFhoeFxoXGhkbFxoYHxgcHDIeGBkjGxgeHy8gIycpLSwvGB8yNjIqNiYtLCoBCQoKDgwOGg8PGi8kHyUsKSwpLCwsLCwqLCwsLCwsLCwsLCwsLCwsLCwsLCwpLCwsLCwsLCwsLCwpLCwsLCwsLP/AABEIAKgBLAMBIgACEQEDEQH/xAAcAAACAgMBAQAAAAAAAAAAAAAEBQMGAAECBwj/xAA/EAACAgEDAwIEBAQCCQUAAwABAgMREgAEIQUiMRNBBjJRYSNCcZEUUoGhFTNTYnKCscHR4fAHFiRD8WNzsv/EABoBAAMBAQEBAAAAAAAAAAAAAAECAwAEBQb/xAAuEQACAgEDAwIFAwUBAAAAAAAAAQIRIQMSMRNBUQQiBWFxgaEyUpEjM0LR8BX/2gAMAwEAAhEDEQA/APTxreuc9Znrus4aOtZrnPWZa1mo6rWVrnPWZ61mo6rWtc56zPRsO03WsrXOetepzrWaiUPrPU1HnrRbQwNklz1sHUGesz0KDZNnrRbUOes9TQoNkutYjUfqa0W1sgJeNby1EG1megwo7L6jMut3pZ1WckBEJzLDwa8FbF/odBtIKyHPJqJn1R91NKvP8S/kihI1+/t9ARWmfw91tR6gll/MAob2AHPtwP10LHofTtxpN1hzhXNZD3seL40x3O/DBSrAg3z7HVf6vugPOI5Py37Cufprn1E2ysHRB0Nb3Uf2yb9lP/XV19Q6qnw3F3LKObLJ4aqADEilNmlPF39tN95upAeMlGfP4RrEFwRkTwDh83nuGjCaiqZpR3O0NQ51mWqTvuvTKHCyOCIyQQmQyJEakn2pmBr3rXW867KudO5xikY0gY9qkjz47q/U0NP1UL02XO9Zqi7rdM7wh2LEfNwT2imfgEAcA8nx7aBhndUgYM4lcKAQHbkj2iLVxfg+NbqA6bPRDz9TqTbpftz7cf8ALVFl+I5gjuJWoyOF7fy5lV7a54H9ddp8R7iPNjKwKIgsoF7sAzHEggctX9NHqYB0y8bi1UsylQOSxHsOdJx1qBiAJFJJqvezqsr8S7icKsk5dWSRmX0wnaWEaDwLFpJz75fTS/a7weUK36qKhCE0Rk7HPwTin9Mh9tCOpRpadnoQW/GuaHvf7aru038rSKuZq+eB48/TToufrq6lZFxoUjrMv87fudZ/jEv87fvoQqv1P7f99Zx/4dWs5NzC/wDFpf52/fWv8Wl/nb9zobiuP+f/AE10v/nGsbcyf/Fpf9I37nWz1OX/AEjfudCmRR7/APDWerfgX/XWBuYT/icv+kb9zrP8Sl/nb9zodSx9q116TfXQNuZOOpy/6Rv31v8AxOX/AEjfvqD0T9dbCH/81jbmFL1J/d3/AHB/trn/ABGX/St/5/XUSbNjqZNl9ToWbczX+JS/6Q66/wATk/0jf21MuyX3BOpY9jfhf7aXcg3IGHUpf52/tqVeoyV8zX/TR8XS74ofsf8AkNF/4RiOSv6ENf8A/m9K5odKQqG6lPuf7f8ATU8Jmb83/D/pouRlS+5bAugoJr9DrJurqg7nUeDQHJ8kcKLPANaR6hVRkztNlLV+p/Sv+uu1Wvmka/YAeT9PGg//AHRAcR3MSRQC1ZNFQcyBz/T76HHV2MsiRgPHVEhEUEEmlXnnLIfN4rnybm5t8HRHS/cNttOr+7eavG7P0HP20t/EaV/TicLGSQ7ISS1A0ADybH19h4vRkvWpMBjzcYAPBCkAksFwojIY+/t7aE3PxNIIo4y6lpFAD+qis1i+OKDVXND5hXPhHKy+xIUdW6bIioDChdaIYXkRdnJb5u+fP9tAnee8qqMSOwg/JzlRsEefYef00/XdbgyZCTGRSkOJlyUue7vNAKxQBuKsMCK4Jd7D4fIUJKIzEQ5apHMgcmzUhrsoV/XSbmHakUs9eLRx4JGtKcxTcEWbsLXP09qPOlHWt9k1dpPd8pU+T/qk/wB6Or31b4eSIB4ZsXxJQZVkByeSe+rFj76qm7k3BYmTI/UqiK3HsH9OxRH/AB0N1A22HfD3T/w4lkQglXsGPnFiyj/678SDjKh71oqbftXGQDoS1xuoIIVgLvEG5Tx5NN/KdJl69HGKeOZyBeRxkOYYPTWAw7lWjZrjwBrn+Niz7KGMKqowZDiZD+UnGqjThRY4s9wGlu8jJVgAnGUrGvLwpffQFtM3I7R/lj9xf0I+9fOaSiOFjTkt+eVSeBxeCNR/760z2wsEfiSsSM7FIqJfGIv1GofY+44gi2hTtlWVWMgNNkpIVHAsMBwfUP619tOZk3VpVaR7I7YXA5aspSIBwv8A/b5131GdRLFZ7Yg0h7iP8pTILrzyv6aWbeQh8KIzkiA7jfaS1Ae9uEFasG0+At+8kn4TIGTENJIighpELcAlvkBHIHn9sZindxD09vBdZGND3H3oHn5j58+db3u7B27MpJ9aRmWjZPqOSoF/YgAf0Grts/8A0vdWWSWdc1s3ZCiwRWOIJAvyHF17al3PwPAkSh9zMqqAp/hYyrEWBWRzmr64sOLvTInZTQrRh1c90ccafOG+WMMxPupzZuDXgag6Oe2O3J4kkILggZsIl49uImP+8dXuH4K6TtCCYTZB5llkYEe9jLH+2nW2i2rRlYEiAWl/CRBiV5xscgi/H31qNZ5t1HdyxJmgdfqy5ChX8w8A1rafFe6of/HPIv8AypOR9dWmLqe4V8GCOxDUzHt7Sq8sq9oJewCLpGJ8Xo+DrsxsGACjVidMTwDYyo1zXIHIOqZ7Mk6fYrQQV7frraD6G9No9ov0r+mpl23+rx9a107jzRONqT7H99SfwJ+n76Zkr9f212P00NwBbHsP/K1Muy/8rRwiv8xGpPTUef7/APc6G4NC70K12Nmx8D99MA4Hj+2tGcD/AL624NAqdNPvWpl2QHvrZ3A+v7DWhuSTwvH1P/TQsOCRNsPf/wA+mpPSXXHqhjV1XJUcfUDzzXB/bUsZA0ljGomU8BTwffRMUxU8Af11rbRlrth54oHx/wBdMdp0cH8xqz7f1vStlYxb4AN51JwjNkRSk8ceBf2+n11Xd98VIAxRizGscqAJ4sgfMfNfqPvzY/i7py/w2I/nQtzziDzx7nmxfuBqjHpLKmDyI8lIzY2AqsoJcXf5QBX0x45NRlPODu0tGNXIi3HUZJGBDHLAjj2UAkg15N354HnU0m4yA9OIytHTSIfAUBD2kn2Yn7gHz41xt9iwZC1sFyzVrLKoJS29zYxb2r9edA9b6qPT9NFDEf5jAWKPgAkVwoy/ViB7abS097t8Lkrq6iglGKy+Bu9vI8e277QqWN4pxkTTElT2lQB51Jt+ott1WqHpgBmkNhghAON3QyrgAVR+1J+lbv0FpoFFtTKXtWS6Vr/LICx55uvqNM32LAZmUIj0CrPdLYtMFFg4k3S/YnSyneFwNGGblyWBJi7gzuIs1KNx4s8eeDYy82RXkaA+It3DEsTRiKR45UlpiK5UhEq8rqieOOONB7qHBg24f1UclVMYGRZQxTOMXQAUm65HkeRrvq/RYVRV26uVWNuOW7gitWQ/lZxkPfyfB0kngLirqw7oHWQcJvSFygk93B9P1LaNWNfmxs1yovTodXikhkdnEhvBVCmwWtVIWuQzWQxFfpzrzxNvPFucZSqQnPC5F9MlUVXAdgvulkcAYjzwdPU6Tutqcty6SpKAkeMb130wX8MYggISC3F0L0sXboVpVZdd103bNkWxOBGTOeA2NA2eMq8j78+dRbTpykI6qrKQC3cCwLXlRHvyPFDg6856A8IkMMhLKwUj1PZiMglnzVceaP8ATV66Jto0nQKwB5NBvYX9+RZ8aarQltCL4j6QnLRgurMRiEKspBORNDkXzf0x/XVe3XTJArExlsPygH1PNAVVjm7B+l/S/VfiPZJLEuURmCMJAqsAS6kY8/Xmx7duhN/08SUscBUqxt+0Hniw93Xk/wBRxpZKsjrJ5DuZWdGADq5awe0eLHJvz8v99GtuDKg9WMFlrJ+TkzEAeAcB54HkD60NXLr3wdizEeo/vmqgUPuAbc/UgA6UD4aVwKkWzVUwNEGzYqwKBN1rOUkakKR1ASbpIpNtIgy9NXKtIlMTVA2RZoHjj9ORdfQ28s0SbZdxAWdTnC0ixUp9RkZcgqsfB7SeaOq1telHNXTck+m/ivcc8XxX3+/jTX4Y3A2USoxWZxLI7yF1B7gAFv6AVx/q6MWJK2WqbpMwkdk9Nkw7FYMXLBfDNkKBP2Ogx1TcRtT7L8ygGOQH5uLplFAHzzrW6+PUWPIgJxdZqeAa/Kftx4/XVa6r8ZTfwzzq0Yj8gE2zEyIlYKbQGye7kBW8jnVExKLfu+vRqAJc4siVyZLCnBnuwSAAqk8/TS/dpuVkpFSRSwonKPisibOV8fQeSB9aR/BPxIN5OqyQsPVuiguH8MFqYs1hyCfAqgBr1E6zb7BVd0UaPcTlmB28hxCm0dGQk5DEFipJGPPHuNO4vhrNQzyzIxAJVWUBftQHtpyYV44HB+mqr1j4tmg3EkbCJFBHpl+WdCikvw4oZ5rRH5b99NbaE25YjMwP5v2Ouowfqf3/AO+u02g+p1J6Z9gdXPKo3HCPcgakX0x5cGz9H4/YajG1vz/x1PHtvYDn99axkSwrB25P5v2YHjz7ke49tbk9JOfTXEmhkXs/fyNRQuAa9Mv/AL1f8tE76JJACY1Rqq1bnjxfHOptlVlYOoeowgikBI/1aH6nuPGgNwXkPexq+F9h+wA1NBGFUDk0PNCz9zXF66L631M8qmDLAB7f21jCh513/Fgsy5C1xse4y+X99Y0YJB54v9KPm/2/to2I0RKx/XUsTtfGpodoxIuh3G+DyOaH6+D/AEOiIZFjVhYaRb4vnwXAr2OP20rkkVhoykF7PasR3MaYciz4+p+2hd78WGIyn02kCggYcm0ieZrHAFhQAbqyB71qp/EPxDLnIUfAY4cA5BopmHHI7csrNj8gvuF8R9ZznWdQzYRkypQVSPx0XFiQrGnRTZ4pOdRc7PRhoqKHsfV1LSrMyhHACE85PWJGC8gZKDRqy3Gqxv8AbAOsmK04xLBu4lA0TBlN5JSrV2T47SNID1OJZVaN5W26SgiF4lcoFPcUnkk9UOcWa+AMjxWh9x1hpS04UpGTimTH1aByJIHaoLm/N8WBxpNrb5LRlFYLT8M7YEzSRljLOJFdWshsgXUeT3DwScapq86i6dINwJVJCYSxoKFM7G+wBe7tUk3XGZrxpZ6LwDEgUwHg8AMHBkkH53ZgW8BRwKqxqTpu33ErSKWyzEZDiyplVGcs4uwAGBBHHK8k86Ltu2Uwlxz+CN+mZVzShsVy7i3qfnI8AcAggm/W+miR0thHEyP6kfqiORcLbKQBVPiqBDZck2fA131/4Y3EEIznhYjwkUb5KwQ4qH4NdoX6DLwebTwTNGDHGzAsGaQnub2fxxXK2PJ81lofVFJxiq2yvzhjBOsSRoY3i5YoQceAoNI2dcEEk+3zkX5OmfR+vOIyodGzGbBRYyZWUlSo8UIi3dxbV5pVPT0YKTkVRWNCzi8ZAkb/AFfOKlQODlRuiO9rLE7qjYkAWvLKvFLQxOI7R4rjitK5pEmk78B8vTzv4kaay0Em4Y80DE0ocAYijz2L55H30/2iRwNBtm9IIUPOUvrGY40Q9GPEkntAr9KrSDp3UYlcAxRrCqkExRWrElZArY/5ZBAIY2DyTV6n6pIWYNI8SsncFBQhhHk1lzRRfAzF0L+h0YZW6/sTks0l9y2QfD01IwjVQoqWNmuQMaYEMrY0FNEff7DVe3fTt4cQFMbqMWPaQWCg5AZd0ZPA8HtP1BOT/GssPqHbSoxd8mz7rxiwBX/WIiXiwOH9/MvwR8fHc22+VQzv6alExVQFRwWtr7vU8/Sv11RxQm9qrOOn9N3+3libONkYrmMzlRVQz8ikxYZBRd0eedHx7o7zcSLUsEoRlSVouMVYgMrFaosVOJHP3AOrtuNtHRBFcUD/AGFfeyK1VOh9K/gIu9jIzNEAjOcY1oGUqCaCqWIsV4Ue3Kbc4KKSabfImmnaHcXOyzN6YQrCmKqWOLE/ijvOZqvlBHmtNukRxfg4rIkjumJkIza1f1CwBrwhb/f+ngWfouzO9km/jJYzEQf83sVitt3EH8pUVY8nydQ9c+KfRlRoQrKA5DjEh2urZlGYYAlOasH6WdIlV7mByvgYfE/pbeAGeQRZmlwUEMWNkBOCW9z+hOvK54c5bjlJFcXaknx4uh7f99WCTrn8SdrBk0ywmNRGzqDI6Kq5B2qiSDyTzlqvQdOka5YxG699wMSSUzeuCKxCEe55vjQw+APJYI+noI1tiWAo0gAseADZ/c6FPREYkEsC30Pn9vHJ86D3/VnYG6X/AGCCAAOPH09h9tQ9I6s0YExlBGJAUk52bNkVXHH99LkGCwxbGbaRyRQP6Ydy7c4vdKpAf8opKsUeTR0w+Bet7oNHJJuHeF1ZysickAcAOSAGY40Ca83WlMXxGJIWBW2YKquG8FjjyPJq7ONa5XfPCtxvWC9qnjwOAftwBzxprBSZ630br/8AEyNgn4a5DO1YFlYqQCprmuP0OmkuyRzbIrH6lQT/AH14x0z4xZFSJZ3GCgVdWAPm+/1/rpjuf/ULfIcYsZFr5nxu/fyQf7adaqF2lkRTrpiF8n+mhdl8RPLGrxKqK6gjsphfsfuPGsWE+WOuqzymicbxfZcv1/7aPfqbkARqsX1Nc/0FV+96XgAeK1HHugzOlm0xvg13CwR9R5H9DofUaLaNb53RbQeo+a3ZrtLDM8e+N0PrWpX3IAJ8Ackn2A8knWpGABJPABJ/QcnWlcMvFMGH1sEH/iNYxqfdYLk142Lr2sgWfsLsn6aW9d3xwVUPD3bh1AVQVWTk+4RmPj8uiN1ljHgbT1Aj13ELRQ1Rvtar9xX20N0rpJdcZSykGUEAgq4kAbMEDsIcmrAPHjkaVyLQh3DpOkmRTzTHEZAUaDA0f6X++nKdMUowdqUjGxZ5bt8VzydAdT352sMbUCPWhjZmulRnCsx+vHv7XftqrDrU8kMzQRBwjrgLLd08gmBBschlUCyB3i6qyjkdGnoXyHzT7hY5TGVcxbqoiXoFXhCcjkkLLIbBB8E/TUHTmlUuoYTToWd3LIcCoVAoQlSB6c5b/dFnmtRdOjlj2k8U/YryRIkfBYAiM5JjRYeLAPs3gjQHT94E3jCZgkKqCeQSzSbeNCcBeBpx5+vAvwp11SYftFkaRYSYyFk3GS2rXHKySqxIFEF45VoeAV+41Nuumw7dM2IgEkckHaQDi5APaSo7WGV88XojbfG8EUasE/GCJE9lRkkbNh3FgoJyJAJABaiR5K7fdH/i/UZD6hYGVVZpBaSDJSikFEJwuuO6x7HQajy1kyTbKn1CKSCVl/h2oeFLoRQGRc+ymvr48+DoAdXcl5fSjdTlIVMoDKgUMBRWyMSAKuyrV4Oj9wsksrq1qVFsK/OmBwVUB7balJBAo34vXG8gWR2yXOmxkBAuwo5LDi2YO3B+nFadSN0reCfpOxkzUzGJU4kdvUJHpu1NZw7GUd3PsQfY6ZpvdsriTbGRGVwsIc2tFsG7o7BHpgAZcg2OPGk525uEkWFvsAt+blbGNVrEl2pauybJFASbaaL8FZS4RRHGpyHaMlXL5eALYVzdqdK7aG09unJOQDud80m9BcBzmFoEFGsgAWSBiTQs1X9NN/SC+ukZV2OdJahiloF+WiT3MR7UAOa0qnhj20skkczPJtnZ0VomCu0UmPnwyhuDj99Ptr/6rPNtJVmgHqlGUYFgCxzU8UcSKFcm78jSw05JHV631UNWacPAJ/iMUm4U4EFlUZDIIWMjqvN2qqfAHFA83pLueqNj2k0z/h2gyGLANkxBL2jEAgg2DfNab7DYRNGHMuSh6sIwuvSLAdh7yXontN1wfebZ9MO6MKw4k5YRiRbCssPrHkLweLGRN3fHJ0O+TiK/N1YF5vxWxKgqrKaaTnziK7QBVg3fnjR3SN8Wj9SzmTjS2EFHuQgKeDHjYBPzACrJFzb4J2W0hD7vbszmJmOEsgJdcbQKZAuRJ9uONdSfBKTuDt849qSEApi6MpcyMQ1mmyAsHjEfpp6VUjRk07fAjWOFAuSMQRiWsFWXJCuSNQADSsxa+Bfmq0z6K6lZY5EU2E/GxXIMFMjkgg+a9MccYgcedLd506dGo16eMiqO0jtYQIWNUmagNdcWASC2m3UumJHtTLHTeiuGamRVLg3eD2ZKNuWBtjzQA0sU+Cs3GsZHvwt1YOJBJK1wenSuxA4SOQ815BKobHmMn3J0l631R0SMNIw3A255BZ6xaR3a8QMHCgZGuCboA6D2MsX4PcI1jnWR3JUjEUkUbOxBWMBODYs2fc6L6z0KVix4CCFRnlG2WaIHk/8A5CAhYfdv66z4onyyq7naGS4lQBpvT5DCyy2oUm/Jri+fb31AkjplEtPk/hCwINefHsLF8Hz9tWmHaFuobSJz6bTGRo1QFXjj9OULYPK2ic/cEe2g22rKQ6PEyhmZh5dI8QaFLQLWzMTbfKCOdIos21CjZdPUZSq3KNZWqxAkeiT+a8bGPi+dHRbVGWMqXJl8L8pXH8M5kfdCPHkH66j6RvjHCzo8YWRochJ8+JYOVC0aQmyTx+hvTPf9WikneTcOkMjoCgZ6C2BVUBlS+3Fk6bamgJ1yJtz0VQ+WLBak5BDHJVJAoXQ+Uk14NDm6StgxBCYHFQ1tkPUru4Hy2bNNzyPGnu3M00jpEnrDkMQoZSCMvJ4YnzV2a8EaGUyRMXl283IKC4S0Q59saxNjmvp+wg8ZRpU+CpQ9SIla3IX2H3J+/ihr0Dp8oGwkidFZpSjBjIRQA4BFUTTH3I7h9NVH/wBoktykZB9/UcH9KP8A1026rIR3t2UVFA5DiiTZN3QBrxwBrTkuYiJMhfYytkyJGyJ5F2QKFCuP/PbXWy2HU5wz7fZsY8iAQkZFjg0ZBZH6Ei7970J0lX9WUqWIe6LEg0fHvxxr2D4f6nHBtoo1kelUfQ19R41ya+u9FWo2V0nK/a6NQQBRSih9tc73demmdFgGXKvIUkKW/wB28j9gda6XI/op6wqXEZ1RGQ8kH6e/jRLNftr1rPF7mWNRk91+5Fft/wDupEgvzoiPaj2s/wDD9tKFIWbsuXjTEtHKWSQgWEtGZSa/KcSv6sv1002HRvTRVzJCqFFkk0BQsnm69yb0SNuv0Gku628pn3aAyAPt0eJsSYwxLK6eMbOK8E8Bj4uyC8YqsnUfQD6LWfxfUjLMPMgidVV7AAzaJQW482PAFWKRo0jaQmlUFjwfAFnirJr2A1WJN8Y22UskqLhC38SGfHj0siQnuSyXj7BSR41V+ufHDPI0sJlSCTbKzWFrFlHgWGDh3C2GI5aufCnVGLYy+Netod2kaXxE6A5j0z6iKUYAeTmyfMPC2OL0n+DviFFkWJw0pzPqYl1yxvFaJCZAgAZEGkJu24T9Xm9ZtqfT9IvtWQAsFcTJlHFkZAClMqFSWr2Hitbn6NI8O5waNDDIHY5sZCuHpSsGUlsFZSW8iyTdVal6pUGbrrrb2KYsoilR45qYFhUivEqKx/IAUJJyBZbx5ICHedRkWZg7ktjeQILepTFOCKK5gMaAsi7vnUhT0jMzELUDiP1Q47ezFY6Fepmh+QkVldUdddZRo5FvuCfNkSRLEFr1fxK8hfHHlqsFSRT3WuBk0o/Mzbz1HIwjtlVc1VWR1LteAAr8MuxITg8VZ1YOn/EboSVeRSpCo4BNxmTJqWrdQ1D/AHQKpq1UJdw4zU4liM3BQePw3plbsKqysQKK8tiFB5Z9PkJDSPkWwc3HRN4t6eZemkfIljbse7trwC8BXuwWDrPSz/Hum22ob1GJZ1rLFir5AepWGZyPtf01L8L/AA+snqmWRgYPRzCkBs8EtjSmzbNyTZKkke+q6vW5YgQrGP0oiqqDUoDDJFIFAMvoqSVskHg2ObbD1fdepP8Aw6tNCLLUCxkIABKNd3jkL92APubMavIs/asB3XtjAJlhykWX0gy4oXdTK6xZX8qq2A8/Q+5APkvU5n9QKiyFVN0DTWhAJy57sqN+3HA516b8X9PlZ4p1FsFGaLVn0Czx2GUH5mDFfluMc3zqqfF3w9LuI7hVXG3GUvdyWkPzKoNdqim4BpAea4MX2FnwmKJeiuV9T8QXC7HvuR2CNK134BKmx54PGhtk3B9RJBkKIWrC2AGGRrI4P5+/sdQs+7iQxpNlEwaMsh/DoqS4tlDBcWJJqq9+Nc9I+JHhVYmClAaBxBZRbMKNiwGkc8/zn24074JxlUrGPTN086MqcHKBVDX6ad5BZ2IpVOCWzWTVEnwbF8N/EkcE0Qdcyh9QyKWpWZBC0oWPiUsGK4jwEFZG9Vb4f6gzMIZZWSIuC6gnE4AlSQBbKDdj73550w6P1l52ZSMUaNsmIY0a7Bjl3U35j8wNHk8o1WSikpYZ7Xvkg3xUeorNt5gOLwMnBMZPIY9oteSOLA0D0zrboJLhDom5SIPTMXZ2HeAOKOZxcCj22RyR5p03dBZ7iZizOxshAnrrI8tCzQDAIC8bCgvuLOitv8Qgu5bAhJ/VUSAAGcJ8pPCRuokrkVYNCxwg+3sy8ybs/wAdCcysSybhGOR5czLuMaAo8Ko8jHE/prnqI28kqQo7VMrSsJCTSxth2gg9xYEUK4LEcAjVTj3AZMXixkO3LmRhciupjODWAz4DgVxcrXRFnmHf97bpQ0W4jkqKgCJAMm9Jq4h7COOB+JRBsHTKnyJtayh3/wCnkG2bayvuWS5JJSVJqMRx/hkUTTiwxyq6Kg+Bq/8ATo4/4YCB8kC9pBLUCMgODY4I4sHnXms3WjJstjCXSJZUHqNlGHMzcucSKHcxoe5YkihqxfC8kxhlWKmhfPBmKmgYkSIqq45IMKIyWyW54Fo6WQ7Wyv8Aw503cPM27khIsSCIvMQ+BXLMee3uKnwafi71Inw4rg1IYpppWjWMsuILLnI6j8i/mx4N+RZ1YW+G551haaOFJAHWQWGRFLGii4m3KKoyJtQ8lHnS3qHRpEG32rwxS7eFo7L2fWW7d3HPNjIgAksa8aW48Io3KTtiLc/BaySkLNDHIqk/w54d8LS1Jk7eFs9oAsDjSjqm1WSWRD8ykdp+pNcMPp4u64OrbL13c7qKPe9Pizji3EpxoKX/AA2jFlmAESg0eLtAa1fJkh3O19aVBXpljwMlxBsBhdEG/BrTtWQPGJNq0FvG4j9PuFOMhgMSavuNg+x4OrB0vf7ncuI19KVQKYOny2Ls0PPvq19K+HpYURpVWRCciMjSZ9xLLib5PLDwNFQ/DEaGOYIcgxPabA5Iv61Q8eNLWDWU5Pg3cAlWRHW/mBpq/Q/8NI5unIGCgkOxVxmeCoAKsB7CqHj7eeNeo9S2ySxyCJ2DtS9rV5IBPJo0CTQ+/vrzv462bOzvH2x2YgxvjABvp4yFUDyV+ulkqyg3YQ3w6VQOSoJFgCgCPY3oKuBbYmjwWA8Ej6/bQnRdg27VL9VSkeC3mvcS1sGUUQt/Kf5vfU8G43aAqXmSiaUJlQ9ucPNckfUnWjHuxWy7xrfvotEGounSRyIrobUj+o+xBFqw9wRY0eq66jzVExFH01J48D9tYkZPgaG6l1yLbNGJQfxA2JAGNgEhTzdsQFAANlgPOg2WhCwnpm4WeMSRsCrfuCPII9iPcaS/FnxG+xlyOPpeiS1qeHshDfgFmsAEc4HXnI61uWimEUvpIkonC5qApkJVKYfmWSMkjJQbJxrgMOufHj7mLcwsuJkYekUCkqpssr3w3KHkEkgiglHSnStOngtE/WP4np0e4OIV45Y5RJ2lpPSeMqAKY5M1nBhwOPrqizdMUtIFiEeGA5kyRVLUTZI9SlQ8fa/5dG9N6IN9t9r6EhCQrHFuVBTlpHhSQhhIXBJjDC1AJFjydKd06ruwuBxIdVBIEhAciNyrAYhuSMi3aSe0aDLQRN6yLDYhI9QzANgDX4kRjay1FrhIvK1s91+ROnTOF3Kq8io0SgyKeQGdXUSW2TENaUvnNya51Pu0YbHb4yBkZ3skxri4YkgizZBfiifJ4B4A/Stm8hkVZACkLOyNGzKcGph6a+eVUlqsWPvrZHwa3ziRIrxB7VHy+ljGQoUHEEAZMSfb1D55Jmh6wyblBgSPrO7KqH0wgQuoPaCCABfmuSSddb/ZlEeLBFKOrj0x/wDWUX1BRkoMAhBFZEp48krpRuSZJJldY7OQU1wiswvPIg4qAAR+UD20Ld2Ua0nBJWpd+KGcMBuOb0w0MilSWVm+VSuWR7+aRgQRfF8HRHSd2rko4haQoo9TJUIPqWxvlWtBeSjgWeRyLFtN/tNntA0SYyTQxsAJlZw8q0rhOUDUoIGJXtFAmxrXWPjliZikZWMxhS2N26uyOoeNWxVlFgMwu1o8nWrIq1JOKTK4+3e3AjIU5r+ICqlkGPyADGigWyD4I8HXEXUkjhkWeCyNr2DAtiGkxtQw7ARl8vA4Nn2Ih2bJJt4payWX/MDLIBFIFoBWUqQFZsiR7P4+YiT7g+pMIZGZs5IhaKHkxYAH1CpByLIbsGgSTXI1UC2y7xdflXa9NRVBEtK2WOLKyFUUkng2yrR5sE1xRqm46cYS6cySyAxkyEMsbqWjdlQjFgzE2GuwSOL0p6VuiYDODNEqPCqkG+/H8QBjygMbDEe4I57dEx/FEczi/VzVTleI7r7iWY8sSf11rafA+np6coyt57X9RH1xGiB26kGOw+Vd5JjVD3Xyhx8H/mdL5OhN6ayIcuxnIPBAUgUP5idWLqO6gaQfhu7VQCyKW4HjEG7r20u6h1BcYgiSQ40y+orU4ZxRBAsVywI84kea0252sA6WlGErkm6xV+V8kuLAtpHJECSKc5RkG/VAIXjHyAbC/XytVemLdAwPe5VaKnBTJnJTMyKIzynbRs/cjyAX0dY0/ElUM0cX8QCpag9s8YYmmoKihV7gTKCb1F0vp4EDZFzKpe4ngLRECPOjIBauwDdysCo/2jqsIbld0c+EGxQrMaLvG0W3iLESIrM8liRaoYIGIWj47vOeuoNs38SYM09ISJeKogWjkKo1ZwNsxqr5Hvrp27XcFHKj1I7YMWelDEooruMpsHlQrEvyTiDqPcbKNymRRoI4EEg4zVmV5FDMnEpLqWsZCl8CzqL9rpleVyMZdxGjHECVg57ZEqFcFDsOSAjdqmyT4JBGdaD2O8YRRembCxZhhEvJ5dlAFFwrOIihIBxY15szb9Qgk3ZfKPCI+XQoZC4K0UN2gVSCCK5UWND9I6QZ0Kx3NI7I0K2vyCXkEo1KQgZitH5iaOlk03gdXQz6ZvWEjMXVUVAqHEFnjlaNsB8wUM4KWWIpwFC0tMPhn4wO23EUcuCxSs4BXhc2Kngex9RmLCq7gQfYC73fGANGkapHSeoHGYtXZ40IZqEkbVz3Z2ee3gT4T3PpujzK7LKBEHW0LNMqMFLMe6OwCGFLbiguR0jTayG0uD29Tf8AYgiufeiD7f359tB9agDRE/mUWv8AtAeP0OlvRPiSKRJDkqrG+J7gQpoHEtVZDIce11qbdbwSA04FqwFYkgkcEWcSb55se2p221HgXbWRbsN3hE0ccaLlkz+QCSS7kAA93k+9k6S/CG+jR5toJA8BkZX/ABgXLnAuFFBsBVcAeTdtZ1ZUgUng0R4Ni7B4PbwOKPtzfA086ZMDwwXP60Lb78Dzqrl7tpNxxaCqBOPfX2JH9wb0snWHblmkZQCPB5ckHkgDmrr7abhDndflofuSf34/bUG92UUwHqKHC8j6j9ua48e9aoiB53u4USb+I2O6RQKMkchJbAfNQbuurq/H1rjSqPqLSQ7aJlWMHcqWOTAvTF2yIII+bz9SPNVq3dS9TcsySQhFmlSONDRkMYKtMxYNS2ikYjwRySTQq3UPh/19zOEIRIbxGTcsfmGd3+554GjJJDcD2FUBZlZ+LBjDHG+OQPJ/XzqbbzKgqpASbORBN0BfcCa4+uqj09WglH8RFGVJ4RlJk+xF8f1P769A2nW45EDKhrx3LRH2o+36caigsrnwbs5NrB6e5xzytcPBUi6P+sCSL9wE+lCyv1CJGRXaNDJeORonEW1Enkgc1rieIBHJOChGJayMRjy3H0HPGvIOtDdTGGCamm9NaEgPcU9R7YjtAeInigzBUu2GWrWQjHdlnpnwj1d2aTbbl19eOR1UWgkZAA3KrwWCspLAKCGHHk6i+Ofh4b7bB4GDSxMyoyEGiWCv491dBx5FEfpR4opW3G1DuwmQKFkIdZGjCEohSvqmHqVmQwJvGw56Z1CeCPqZBeM5LJDI6ktIxObFldflAGLGr/ENHhdLyX2UxV8H9CbdQOE7GBMcgMalSRTK6vVKeczYU2f3g690k7GSNfSrOgpD5CTCu/EilOUl3xWRBFeWew6h/wDMEm1SWCHdgdkbQ90lDuGRaNCS4v3o+xGrf8Z7JDshJPHCDEysBNJcYs4kMa7zR4XmyBoNsssStnnPRJ22zJJIrdkzJIWLUVEazKuApSp4+Y33EixxpR1rrLjf/wARtPSsMPTK92NY2imgrLk5UVVhq8jje9ZhFCaCh1fAIgvjH1Bxxw6VweKAF0dQwSAieSO2WMxu4NgW6uj1VEKSQf8Ac5JuzXSklLLF1I2rRZf/AH9DMjmXaNK6jwcSqSc0SxFiiL8A8aQbbbGOgsoWV4+1ispkkWYiPFirCjZ8gHnKzxRabtpd105ZmjJxxUSKVdTjaySvGyAqw9Pgo3/2fbVegQYP6gyURlaq6YKQOQT3gOwUnhCycEeNPzd/ahk49o15yG9Mkl3249MLk5QKcvTUIEVwfPlu5TyC5IaiPIY/D00kdpJ2w7gyRzJKwC3iaYsB2kspQPXcGA5oaS7TeTYtEQY45Emb0+LsrmXf8xNIFDMPrQBGmMe2PpxMxyDZDLtyzZ3aig5x7gB+w540q1OllK7waEY60+m3WLRv4hatwY4wewCNFjjcsqwMwVASC1jIAvVMReXnQTThMY42uNlaYhAAkcmDSAhSuXEUSNiWpiL50b0/qypT2qtKcBI4yIAIckH5s8VoEc2eOaGgmWVxB6MiqXTEqeIwYyUNccqAxYkmwD9uZrU6mao6NX0/Rltu+CXpPWZpAWUGhIGEhZiVkxVFHqVR5NhOOGa7A0d02MSTxxjsjENn8qo07j12Wl+XE2Aa+QAeToKXaEqVVZvSaRmmLtGLKA2+EfFE8fmHA96Ot7Do77gSCeT0pVaKJlkZKlICVbGQPl4PGVVQ9gHOd+CTYbgAwhS3pybhm+aQ20bB4xjHLiHRQBnQ+axeJpluOrvvPTjhUeskoRHdIhA4ckAP+Fziii+R70DYGlGxiYNGHchY2ZfwzgSHvLvC/Me6uD4486m2O0yaSOGMlwySxrZ4UBLYUQGYAtQN3R+oBXcrBXYN33Xpdn1Hcpt5FitlNRpG6onzCiynBAW8AAgVxwNJOt9Xn3UUrbm5ZY8ULYItXkS+IUE0FGNVxISfbVp2QU7ZZJXXlHd+xBJ+EBEM2r5RjZ9yQBdAgon2iTAO1hxMY5Fyq4wFkaiF7QxLCyGINe1AM5WwUksgvUemyRbYxtzLKNrDTkKY8F9Vh/LiAIxZJqybHI0rXdusKGGNkANsA34bkRC3NENZBLWKxyI1aN1vEidJYzGDA00wEsh4Mjmo0BFMDQJ9z9rJMXoXDHuJAAWdSFE/nJbUhEy7ivBDRilAFAAHRWpSrkZaSk8OgNyPXphLTkYshfwGQBqFgByvcaJBfkDxqTZNkc41xKRusORRYS4CsxK13O6S9vPdlyQAaI3WzcyMqp6iSqfUIIWJm9SSaNcwSA1xs5rzQXjUXUFhl2+3jhiWP1WlEchY5mSywJJAbFnYIvH1JHA0n0Gkq5AN7B+AoTFTIkSMfUpywzUtwQMTfOYPBADDnTCXdbhDEBGyXAYoVW8ikg9QOsii7dVL2eFsk1ydQdX63EHbJpFxUIuC42uJBTFlFgNZz8kSt9gOoIWO0k3FlfxlXbvkFQ2zK7EHiNAPF0MjQ8UTVIXdk3t+oBIWamUtt0Xljkxp4jNyCoLFyo59ru+NCSy5Sxicfw4lQJKQrHONVC5FeGQAooryLJsg8u5tiU2areZdIzEqD55ecXZwcmGZL+StmgdLv8UkdJ4z2MZIliydmQuJD6jmRgclGPuaA4o+SYuOb5DJSxXBGxdFn9aRwkR9IxjFsmyDRgUbZVWJO4qvIIu7Gpd/t44IY5Wj9SOTxIAo57rXAtlxg1miPvzrhoPUaQr5WLl4kEls5CAoQQzW5JL1kC58itQy9HMbQwg+pkiyO8RMhHBYKAEtfF1RJsXYFaCnQHDwBbXfpGcpVyUk0F80eQPmHjgWPOnXwt8RGLfJOqtguRCP9CMCPqCVLc88/bQP+FiRWlET4RyBBWbFLBP3YgUASf5hyNDDaqsyotBucqa8SF4BvwwyYEexBGi2qErsfTfS+px7mJZYmtT+4Pup+hGtwbZyX9QKcnJqie0cKLNflHivJOvAOm7t0fFZCtWD3NjbDHKgw5A5B/1R9NWzp3V23G7jdJHwSWFMbfxHgGsH5rALE1zzpHKuxuna5PTetQRLE0rop9FCUscKcaFfT2Gqr/hDxbGN82QumbkBSyO/cO1gQVNhGxrwD9dC9Z6285lh9LON5UW4wWkQEnJHA5BwFiv5T9Rdln6ltZUKt6qjxRTcJ54o9oNf20yyJOLhhlO3W68pKoDWCGUDG65u2Wr48H3++tRb7dRdqKuPse7kfXtPP66F+INzHFKsSMZUdQFc9pX7MaAJHjI/8tKTunHasppePav6GjY0lO6oB62rfcD299Vv4w6RCu3l3IVRJFHkhZmC5qxZBQ5ouxFDzlXvqly/EsW96Z6M83pbiJ0aJ/z5R9wZO4U2Ni7FEjVm+GviGDf7dtqWlDlCozI9RggAZ1mW1fyPPdyby86q1QsY9ysdQ6usmyj3DyF5nkaKY3RijUhqUoiubV14BJqV696sfxHvS/Snkf09wTGhT+HZlYIzYCUA3mVZgcSKJBBPnVN658NS7OHbKMXfbOZixjYM4Vg2fki1sRkeWAjv5BpEerzxqgil5x4jXFs3ZgPS9JfJBkN3fdmfmAGlLUmsYCtruXh2wdTLFJHuWbMoCpBUFWxdLEhMagNdc0QfOt734rn3SIHkeQlmjVOxh+IAotQoDseApNVya50u2CMVnjd7jaONnf1e0MrkgOWZQ95UQtmyAKJNcSdQIjk8oQzeVAUOSoBx8tIoGRZicS9+eW3yH4yND1hfTjSRRGVUoFAdmWaR5iWsyHO1KFgSaZiKXSnZloVnjdqXCwCynmw5agTZxSiRda52chZHU9tIG8HJgXTEkgc4kLRAF2ODqCWMRt+I62B8rEEsbalJDWoIC9x/n+lnW5wZvaO9vstxtw7ruhijBVgWSRlZ5EyCYJxkAWYkCrQ8g6wo7ONuu1EjHcSn1ZAyI8zWKrOqqqtsr8UTRAbpJ9XEhvQLkhowzAxqrFscmGQal5L2tHxfMkm43MqxL6zn1y0qxBSB6iWbDUAFGPzZEjEE8c6eDi1kzUrwPdj8HbhZA8sbYwIy9jI2ScoLUG/lJY/ZEAo+COpbRBIMExjIYYh8TCgkYWqlgRK5VlBsUFckkXpDD8V70EbV3c5Ni0ciq11+VieWQ+9tiQbNjQe4Mn4biIDGNV8XgFpmHaAaxYWPNNR50jafH5K1tfKb+RPLB686TFmb8UOAFohVVZJZZFWwi8pZVgRZON8Drd74Q+lFgWEEryAKoJSK8vJskG7YeL4J41NN0aXaSiJzHOkzgFQfxWQnGN8Caj7gD818LdUNCpHgscqxZwh5jlRyCjyshUWB4IDL7L48aFrsIrvOL8h2x2KSQTMv4ipKFU5CsVKyKqu1sGtnFsoVru78a2W5SKYhkctRkjGZUhzTQoyk2QlkEAg8tZPFD7Hp7vFxGkULqGEhoqzB2Z29RawVIlZcG8ZDwXGoOp7ZiJWZRapHJzioxkJKlRnTiqrHPx71esZulQVudqZNqkyEByzh1BW7XHtrhsx3GqquebLMJC8iGMo2MhXgliCB5yBAsEEMOL8gjRGz6o0W1FMGzlXI/KeY42rEMMyptcyGPBqhrIJ5hdyRoCWbmQfhRqSGYBbLp2hQTzkKI5s7bbyQynf4CY0eaKaSFpMckXvpiCR6khwX5QPUuhfggk+REJZYUijxJdS18HhixHN/7N83/TU3TJsCyZMLtgzks2ZVVLMoouQqmhxybF0LkChWZQrOWbtZO3mw2KyZZOVoeAFNe/nSWUqL7le3cLNI6+mWSwrM+V5oVEndfa2d/fu8V5d9W+ImklhEyMACS6JxiFHZgQvaqgquQ/Knn31Bvowq/hoGFBhGcmc5cBji/P8AtUSfrS0IP49TFSRnInJMGXIUlYkA2UkZ7K/rwKvVFkEXtuh3LupPxaiYYhDBeIwT0mRcUUlR2uSfqMC3NAqthvGbbGF8o2EqqXYglWkdmaw7KYipTJiLsE3Xza1tRMUjY3x7R3m7u/pvkvBaUNFdN5yBJ45yLpon3EvrPUKSepJlIBwQUBAUm3yUIWBPze2lwWW5q0dbgJBuzCIWklkDQ1atfqMBG8Ttfzg1X0f5jfDTqnR3hhhhnLxOEaT08R6eFsSoKg5PkVBp/BXtHDaVLvktZIY48omKxBo48WLSO6B4+RGUJZVYkEkjk1Wo99FLDnBm7kJyULvGWlcR1nXiolAb3oAVp6TJNtS7BA6oxDSSiV5YyrTFi+ca5dig1+GSOARiO43yNHdRd/Q3BQZmWnD+mFAZGQlRgSyquYKgHzbEnMDSr+GEMe6UoBI0vpFslXCIx3woLKYwVIPPPbZB8HEesXgeSPawWhxdlJZlxCYkgyFnCgF2NAAWSBjpaVjqToI226RVeVAxm3Kyqn4vfgiovAo1KJQVBagVJ88g66LDMduZAEkLsEcFvliUYJEMTiHBLDv9ifPsH1/p8yiIDamMq0ah2ezkVyUEAlUvhrSxRQGtEbbpMke5l24LkGYHllpiQDZINg5V9Rx+p0G8GwshvQ+jzIZmdWVkkJjGB9OyrKe2OzQlKsKIBw9stcdM7dxLNvIFmMmd+IwJKVlIYkUmClKsnleDzY0u5dtwUujwoOR4I9mNVRo+9EVwfGtP1VzKec1UgICQeSSKx5BvJua8AXqe51wS5yWLbdM20uxsi5ZVOLqlViBHI5KjFQGPCWcsTWV8GfAsmz2m1IaCU7ko8pDRysoUlggEigqiEALkaP1rVe6d0x5dvLEajEKN6ZIyLS5CUluCVBBKkKfN2CfLfY9WWOJF3cjrlC0XYbUGalNohIIA58Gslrw2mTxRXbi+5L8Kdei29fh+u0XqEPGRkECBRmWrEhB3fN49rrXqHw/1htzF6hheKzwH4JFC/PNhuKIFVrwfcbNTPJu0iKwLuDgoZUiaJXkhAjwBYmgbAI+U88jXo/wx8RxQbYgTbg+ngrRywtcRLBMQS2PDHxkWo82dUS7EZ+73Fz6xskkWmiEn6mjV+QfY++vOupdKi9V+2OTuIB9QqQB24kChfF/73nXprspJU/MBZH2Ni/64n9tVXrOy2iy1Lt0LUO4tCMvvTSK3m+SPIOiSR4MFIsqHCigSfIv7gUPBoeRXvWj9t8SttZ1mgxQqGIS+ACAPT7vmDHnj3JPGod9vFlQTGHEs7kCOZFjBUDJjFgWUG7ALi744GlrgSLYP6H/iDXNEfT66PJTc48HoXxP8aQbzp8C8zP6mLZCSL8YAY1TUeGYiy3yi6JB0kbr5VoY3CF9uJQk0ULM0fcFWQ18xuOgQFPPd918kjKtUpR5FkVY7HabRXWOjgO9qUjI2SQaB0qXdvllmbyVkYuMUbIvZJ4u7NHm+a50uClYJd1EzlWCMCUUKSxESswJlJJsUBldMAMWJ8Ea0kKOm2FpiqyWFR2IKuSZXAFtnWI8UAAaAvRjbkOmMsglp7R5GtVC2XkZRbMXNWCCTiSCb1x0d1dhjElorFlAILkuZAkar3M1DAZE/MOKAo8mqgjZbXFHWZvRLYBMyoYD1M1DQ8MgbBBmRiASb7joHdRRRuwKKrOe8yBmCqwHKqnPcCSLo8g8cEHKjs0800fC0DFI3LSp6eTfQjgsw8AuF8eB5ZMpWAVGtpFRqpWSTIZKuOUhUENlfAVQANI0FpMY7uZJPUj24/DZhkjKVhXHErIbjDBiqUQS3nk0L1N1jf7fcPFBstv2Ia/GYgEBLJJLkYFQ1NxzXHjSibbJHeLBgSy5Mvc6+CVyFRoGAa2I7X82DrPiDY/wsyII5FZUOT5G2PNDgUhRGUEDn6862nFRVIE8dwrr25iVI5BGwf8KSVCmA5DRlQW5xKrSsooA+55C3cTKk8aMzosRxZkbvViS0rA15VmK8DkRjXXQukrLuNuMi3Kvl5XGNe5SCMvnVUHtXjWtltLkVcmeR2ckEcGkLEE5d7B1XHjzfngavpTUHdCyTk7C+oSYRZlEdKEaqwbJQbbNCGFHFK98cqGmvTJWi3LelNHHGUkEiRqWWNQiyylchXpEqO6zytV4qmbhmztuPSoU9mypJrkVXFY/oPHh9s2PqBiEaOOJ56j9PhXjzKm/mZTS4t+WPxR52pKLVRVDwbk7ZDt9z6m8R5hn6gNkLw0sgIEjAnvNOG9i1AcHRu9LCKFSyvhGHDkXUbdvgjjlWpRfnkjwBR1JnjaCS3W1YkjFjS/iU0g7GCA+aFr4PFm7LdwyHdOUKQpCWEauTiz5IkIYqcVJIBIq8BYIvUJWGDTdeQKPqZC2yBkZ5FIwjAWV0Xuyq/JF2OQK9zrIpGMdwsjy5qwqKse4Dz6dLbkgWRwb4JIEHSzI0QCqSgaRmvCs/TpgMgb/Dw4otdlRYvR0MLQzOqUU7mB4A5ziT5+00Hb5uOTfm9M8CJJp2FdH6iTvvTkYMxcDPkWWpTdMGHJBWjd1q09X3wVU4BF3Ry+QGkVvm44eyQL48aofQZfU6mjysopnlLeEGAaayAe1Rjdc1QFaum/iLz/iYsywIpYYm2ZmcscRichi3HBux7HXR6fRepJRic+rqrTi2+CHb7yBlknSGEOGjRioWnckl0y9MYlrHnEGuMTwYBJs1cjBQ3qOnpxyqssZFjgqykg0RVE80wHuUnS4sWBQdwAYC6YLVX9QK4+mhZvhbbMb9Ojd8O45+vDedeg/hur5X/fY4f/R0vD/H+zsdB2n8MqlGJeRO5JSQGrEBo/WLIB8tk0KscDkkbJHftMgdO1UJUxAHuyTKMqW7iRWVlvm+o7fDsQVVIYorZhC7Ylv5jRsnk83fJ+uoofheONSA8hDckMVIujz8v3v+n0sFH8O1fC/kePxHSXDZPtemR+hHGZGAdmtW8vJyQGbBfUClTiDXF8EAa5g+H5Iish3jGRZXMZdUOLgqkiP+JbKQQKSvP1JGotp8O4Mv/wAiZwpBxdrU+ODVErQqiaon66edXVZlK2y3K0hKt3d3lDkpBW1Uih7DSP4drJfp/I8fiGk3+r8CSDpmSzhhC80rOLJwj9PnsURsQFsEglhwa4I1INqZduqYhJY3ctiJcZFkUrI5DoMpTi3y3QYmqJ1Ns9jIiLGZRQVvlQYlryDY/lOXJo0fp4qJtruGhNlGdQFU+wClSinFQQoK/Uk39qM36LVX+DKr1ulzvX8E3xLsJWaOWNIpFJje7wLPaqRID5sqI/via5PPLdHlk3SyM5hGLMpAQk0R2rywaw3d54sVzzztJZ1LGSCJyVGJWRkUPVElBwynk+1cfroqVyVSsmtLdCTiHLC+bN0CaNeODdnU36PU/a/4GXrIfuQm2HTrXCSCUD55CA5PzdguzmxHNZcf00Ft9mUBwj3CU7LbxRX3tipNhZKojmyASKJrTv8AiiYijRNyaCmMMoWzxQGPIo/a/tem/wDErOtq+KqjWXullyJVytKVxIGQ9wV96OoPQkrw19UP1VLhoq0U3orGyIjKvm7IfiyzBTyxUXkbr28ak6/Cu9RBA0duEDxrKva1hmKxyOGKLkR7WQfHnQXVYp9ssa+m6SS2zIw5YBn9MWLsnvIBI96sc6nh6pHAU9WF0kx7sVjCk3xTC7NWTfNjyfGoK4rgdMcz9LgjgjSKbBdvI2UcrKpllq8mZW5bEcUTxx4ABWdD3EwA9NnUyTc8qWkjbM0vaxDjFiQeBjfFkaD6tP6qkKjCNznZJwLd3dRNFqUi/PafpovqvWoY+nbX0dsU3CAEv6dRDEY+oFf5ybDWAQG+b7tHPI++uOx6l/6d/Eke6gcgsJRQKyGzgsaohDUAysFL2Pdzq1yS2e0Iw+t+/wBPl18+fCO33Jgk3EcYdlBKRnIiUO/eQoN4Eqcl8NRrkAj2zpe93fpKZYtuXIu45ziQfFBo7HFe5/XTquCMk+fJ4J8MdVj/AIXfwS0C+BiHIJezERV8ghuQTxZPtpeqGONVMbiNcrfHt9RiATmBTfKFq+DxrNZoXkqv02S7a/XDOwAWN1piwAbFlHyc2S1G/IyvXG224JMqGjt2iYljTv5dyrY/MDyDVBTZPFnNZpmHTVqn8wbpcPqTg0UiRnlNUzBF5x7j7CgSxrzZ0yXbxYeunDqLTEItguO9kFYVTIAoJJVjdVres0rYYpIYdWtdvEko9OVoJZIk7SXhljYLeAJSS40emoFW/mGq3toiyukjC1jXDzQSQmRms1iCvbdG/UUe+s1mmqhYtyZNJL62cjSFnLIRyQwsMMAxFhFA5a/GIA1x1Dd+o/agVAvyqpKgjmRgPC2RZxoUAPbWazQCMOk7DJdyWN+qoRfymR2UbmgaNfIL8JRBPtqP4a3cyLM4iWWBBciOFIxelYgHy2K1+g+us1mj3BeLOpdyajaKFfSgObo5IjYq5EbuxI9Ru70qHP4ZBu9DdY3RO4meIs8bKY/UHi2F9zAYk+f1A1rWa1CqVjPrceDJGsoaMsIczF6bmM4jI4t3x9zCiQ3t4OuOudbwdTFDDtWdSjekArhclNlQPwWIquSaJsnWtZovmhmtqtBvSPhn+HA3O5aAxY2AwZ5MziFBVSMTbEFrYDA8XzoXfTn1lMcZWM0I1JByQOyHF3sOeQbPF37DnNZpHyUS9oX8PdPEE0sk6ZhID6i2i8TMgILf5asEZrHjiq8jVgVV9afEswV1TJjy3pxol/Y0OR9b1ms16Xw/+6vueV65/wBJ/Y6La2XPvrNZr6JHgvgxZiDfuPGuktiB9dZrNOkTbJZF54FDWpP7VrNZpuwq5IJJhXg3ruGTgk3X0vz/ANtZrNTZZPPBz65PHv8AU6kgBIJ+n/n76zWa10ZK2cSxZWCSD7MDzWu9i5jcV8osMAeCpFe/F/rrNZoamnHUg1LwGGpLTmtvkB+L9hGIxMMh/lBpInIX5SsbleV8MyeDWV//AGEijptjKkkjySEIGJIid0D84qz3UeYHnn9ONZrNfHyj7j6mGcEG2mkDRy8MIqVQfGIYtiQtZAljdnmzd6fwfGQEhk9H12nVoiJyGxLNXYVALL3UQQLHH31ms0haqWPBY+mx+ohT+GCSze8bCPbsYVuyGQYRY5GrHhio8k9y/DW6kCeru1/DQIgiZsBGvygNGAHAJPcbP18azWam5OOUWj7nTP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9" name="AutoShape 12" descr="data:image/jpeg;base64,/9j/4AAQSkZJRgABAQAAAQABAAD/2wCEAAkGBhQSEBQUExMWFRUVFRgaGBgXFhoeFxoXGhkbFxoYHxgcHDIeGBkjGxgeHy8gIycpLSwvGB8yNjIqNiYtLCoBCQoKDgwOGg8PGi8kHyUsKSwpLCwsLCwqLCwsLCwsLCwsLCwsLCwsLCwsLCwpLCwsLCwsLCwsLCwpLCwsLCwsLP/AABEIAKgBLAMBIgACEQEDEQH/xAAcAAACAgMBAQAAAAAAAAAAAAAEBQMGAAECBwj/xAA/EAACAgEDAwIEBAQCCQUAAwABAgMREgAEIQUiMRNBBjJRYSNCcZEUUoGhFTNTYnKCscHR4fAHFiRD8WNzsv/EABoBAAMBAQEBAAAAAAAAAAAAAAECAwAEBQb/xAAuEQACAgEDAwIFAwUBAAAAAAAAAQIRIQMSMRNBUQQiBWFxgaEyUpEjM0LR8BX/2gAMAwEAAhEDEQA/APTxreuc9Znrus4aOtZrnPWZa1mo6rWVrnPWZ61mo6rWtc56zPRsO03WsrXOetepzrWaiUPrPU1HnrRbQwNklz1sHUGesz0KDZNnrRbUOes9TQoNkutYjUfqa0W1sgJeNby1EG1megwo7L6jMut3pZ1WckBEJzLDwa8FbF/odBtIKyHPJqJn1R91NKvP8S/kihI1+/t9ARWmfw91tR6gll/MAob2AHPtwP10LHofTtxpN1hzhXNZD3seL40x3O/DBSrAg3z7HVf6vugPOI5Py37Cufprn1E2ysHRB0Nb3Uf2yb9lP/XV19Q6qnw3F3LKObLJ4aqADEilNmlPF39tN95upAeMlGfP4RrEFwRkTwDh83nuGjCaiqZpR3O0NQ51mWqTvuvTKHCyOCIyQQmQyJEakn2pmBr3rXW867KudO5xikY0gY9qkjz47q/U0NP1UL02XO9Zqi7rdM7wh2LEfNwT2imfgEAcA8nx7aBhndUgYM4lcKAQHbkj2iLVxfg+NbqA6bPRDz9TqTbpftz7cf8ALVFl+I5gjuJWoyOF7fy5lV7a54H9ddp8R7iPNjKwKIgsoF7sAzHEggctX9NHqYB0y8bi1UsylQOSxHsOdJx1qBiAJFJJqvezqsr8S7icKsk5dWSRmX0wnaWEaDwLFpJz75fTS/a7weUK36qKhCE0Rk7HPwTin9Mh9tCOpRpadnoQW/GuaHvf7aru038rSKuZq+eB48/TToufrq6lZFxoUjrMv87fudZ/jEv87fvoQqv1P7f99Zx/4dWs5NzC/wDFpf52/fWv8Wl/nb9zobiuP+f/AE10v/nGsbcyf/Fpf9I37nWz1OX/AEjfudCmRR7/APDWerfgX/XWBuYT/icv+kb9zrP8Sl/nb9zodSx9q116TfXQNuZOOpy/6Rv31v8AxOX/AEjfvqD0T9dbCH/81jbmFL1J/d3/AHB/trn/ABGX/St/5/XUSbNjqZNl9ToWbczX+JS/6Q66/wATk/0jf21MuyX3BOpY9jfhf7aXcg3IGHUpf52/tqVeoyV8zX/TR8XS74ofsf8AkNF/4RiOSv6ENf8A/m9K5odKQqG6lPuf7f8ATU8Jmb83/D/pouRlS+5bAugoJr9DrJurqg7nUeDQHJ8kcKLPANaR6hVRkztNlLV+p/Sv+uu1Wvmka/YAeT9PGg//AHRAcR3MSRQC1ZNFQcyBz/T76HHV2MsiRgPHVEhEUEEmlXnnLIfN4rnybm5t8HRHS/cNttOr+7eavG7P0HP20t/EaV/TicLGSQ7ISS1A0ADybH19h4vRkvWpMBjzcYAPBCkAksFwojIY+/t7aE3PxNIIo4y6lpFAD+qis1i+OKDVXND5hXPhHKy+xIUdW6bIioDChdaIYXkRdnJb5u+fP9tAnee8qqMSOwg/JzlRsEefYef00/XdbgyZCTGRSkOJlyUue7vNAKxQBuKsMCK4Jd7D4fIUJKIzEQ5apHMgcmzUhrsoV/XSbmHakUs9eLRx4JGtKcxTcEWbsLXP09qPOlHWt9k1dpPd8pU+T/qk/wB6Or31b4eSIB4ZsXxJQZVkByeSe+rFj76qm7k3BYmTI/UqiK3HsH9OxRH/AB0N1A22HfD3T/w4lkQglXsGPnFiyj/678SDjKh71oqbftXGQDoS1xuoIIVgLvEG5Tx5NN/KdJl69HGKeOZyBeRxkOYYPTWAw7lWjZrjwBrn+Niz7KGMKqowZDiZD+UnGqjThRY4s9wGlu8jJVgAnGUrGvLwpffQFtM3I7R/lj9xf0I+9fOaSiOFjTkt+eVSeBxeCNR/760z2wsEfiSsSM7FIqJfGIv1GofY+44gi2hTtlWVWMgNNkpIVHAsMBwfUP619tOZk3VpVaR7I7YXA5aspSIBwv8A/b5131GdRLFZ7Yg0h7iP8pTILrzyv6aWbeQh8KIzkiA7jfaS1Ae9uEFasG0+At+8kn4TIGTENJIighpELcAlvkBHIHn9sZindxD09vBdZGND3H3oHn5j58+db3u7B27MpJ9aRmWjZPqOSoF/YgAf0Grts/8A0vdWWSWdc1s3ZCiwRWOIJAvyHF17al3PwPAkSh9zMqqAp/hYyrEWBWRzmr64sOLvTInZTQrRh1c90ccafOG+WMMxPupzZuDXgag6Oe2O3J4kkILggZsIl49uImP+8dXuH4K6TtCCYTZB5llkYEe9jLH+2nW2i2rRlYEiAWl/CRBiV5xscgi/H31qNZ5t1HdyxJmgdfqy5ChX8w8A1rafFe6of/HPIv8AypOR9dWmLqe4V8GCOxDUzHt7Sq8sq9oJewCLpGJ8Xo+DrsxsGACjVidMTwDYyo1zXIHIOqZ7Mk6fYrQQV7frraD6G9No9ov0r+mpl23+rx9a107jzRONqT7H99SfwJ+n76Zkr9f212P00NwBbHsP/K1Muy/8rRwiv8xGpPTUef7/APc6G4NC70K12Nmx8D99MA4Hj+2tGcD/AL624NAqdNPvWpl2QHvrZ3A+v7DWhuSTwvH1P/TQsOCRNsPf/wA+mpPSXXHqhjV1XJUcfUDzzXB/bUsZA0ljGomU8BTwffRMUxU8Af11rbRlrth54oHx/wBdMdp0cH8xqz7f1vStlYxb4AN51JwjNkRSk8ceBf2+n11Xd98VIAxRizGscqAJ4sgfMfNfqPvzY/i7py/w2I/nQtzziDzx7nmxfuBqjHpLKmDyI8lIzY2AqsoJcXf5QBX0x45NRlPODu0tGNXIi3HUZJGBDHLAjj2UAkg15N354HnU0m4yA9OIytHTSIfAUBD2kn2Yn7gHz41xt9iwZC1sFyzVrLKoJS29zYxb2r9edA9b6qPT9NFDEf5jAWKPgAkVwoy/ViB7abS097t8Lkrq6iglGKy+Bu9vI8e277QqWN4pxkTTElT2lQB51Jt+ott1WqHpgBmkNhghAON3QyrgAVR+1J+lbv0FpoFFtTKXtWS6Vr/LICx55uvqNM32LAZmUIj0CrPdLYtMFFg4k3S/YnSyneFwNGGblyWBJi7gzuIs1KNx4s8eeDYy82RXkaA+It3DEsTRiKR45UlpiK5UhEq8rqieOOONB7qHBg24f1UclVMYGRZQxTOMXQAUm65HkeRrvq/RYVRV26uVWNuOW7gitWQ/lZxkPfyfB0kngLirqw7oHWQcJvSFygk93B9P1LaNWNfmxs1yovTodXikhkdnEhvBVCmwWtVIWuQzWQxFfpzrzxNvPFucZSqQnPC5F9MlUVXAdgvulkcAYjzwdPU6Tutqcty6SpKAkeMb130wX8MYggISC3F0L0sXboVpVZdd103bNkWxOBGTOeA2NA2eMq8j78+dRbTpykI6qrKQC3cCwLXlRHvyPFDg6856A8IkMMhLKwUj1PZiMglnzVceaP8ATV66Jto0nQKwB5NBvYX9+RZ8aarQltCL4j6QnLRgurMRiEKspBORNDkXzf0x/XVe3XTJArExlsPygH1PNAVVjm7B+l/S/VfiPZJLEuURmCMJAqsAS6kY8/Xmx7duhN/08SUscBUqxt+0Hniw93Xk/wBRxpZKsjrJ5DuZWdGADq5awe0eLHJvz8v99GtuDKg9WMFlrJ+TkzEAeAcB54HkD60NXLr3wdizEeo/vmqgUPuAbc/UgA6UD4aVwKkWzVUwNEGzYqwKBN1rOUkakKR1ASbpIpNtIgy9NXKtIlMTVA2RZoHjj9ORdfQ28s0SbZdxAWdTnC0ixUp9RkZcgqsfB7SeaOq1telHNXTck+m/ivcc8XxX3+/jTX4Y3A2USoxWZxLI7yF1B7gAFv6AVx/q6MWJK2WqbpMwkdk9Nkw7FYMXLBfDNkKBP2Ogx1TcRtT7L8ygGOQH5uLplFAHzzrW6+PUWPIgJxdZqeAa/Kftx4/XVa6r8ZTfwzzq0Yj8gE2zEyIlYKbQGye7kBW8jnVExKLfu+vRqAJc4siVyZLCnBnuwSAAqk8/TS/dpuVkpFSRSwonKPisibOV8fQeSB9aR/BPxIN5OqyQsPVuiguH8MFqYs1hyCfAqgBr1E6zb7BVd0UaPcTlmB28hxCm0dGQk5DEFipJGPPHuNO4vhrNQzyzIxAJVWUBftQHtpyYV44HB+mqr1j4tmg3EkbCJFBHpl+WdCikvw4oZ5rRH5b99NbaE25YjMwP5v2Ouowfqf3/AO+u02g+p1J6Z9gdXPKo3HCPcgakX0x5cGz9H4/YajG1vz/x1PHtvYDn99axkSwrB25P5v2YHjz7ke49tbk9JOfTXEmhkXs/fyNRQuAa9Mv/AL1f8tE76JJACY1Rqq1bnjxfHOptlVlYOoeowgikBI/1aH6nuPGgNwXkPexq+F9h+wA1NBGFUDk0PNCz9zXF66L631M8qmDLAB7f21jCh513/Fgsy5C1xse4y+X99Y0YJB54v9KPm/2/to2I0RKx/XUsTtfGpodoxIuh3G+DyOaH6+D/AEOiIZFjVhYaRb4vnwXAr2OP20rkkVhoykF7PasR3MaYciz4+p+2hd78WGIyn02kCggYcm0ieZrHAFhQAbqyB71qp/EPxDLnIUfAY4cA5BopmHHI7csrNj8gvuF8R9ZznWdQzYRkypQVSPx0XFiQrGnRTZ4pOdRc7PRhoqKHsfV1LSrMyhHACE85PWJGC8gZKDRqy3Gqxv8AbAOsmK04xLBu4lA0TBlN5JSrV2T47SNID1OJZVaN5W26SgiF4lcoFPcUnkk9UOcWa+AMjxWh9x1hpS04UpGTimTH1aByJIHaoLm/N8WBxpNrb5LRlFYLT8M7YEzSRljLOJFdWshsgXUeT3DwScapq86i6dINwJVJCYSxoKFM7G+wBe7tUk3XGZrxpZ6LwDEgUwHg8AMHBkkH53ZgW8BRwKqxqTpu33ErSKWyzEZDiyplVGcs4uwAGBBHHK8k86Ltu2Uwlxz+CN+mZVzShsVy7i3qfnI8AcAggm/W+miR0thHEyP6kfqiORcLbKQBVPiqBDZck2fA131/4Y3EEIznhYjwkUb5KwQ4qH4NdoX6DLwebTwTNGDHGzAsGaQnub2fxxXK2PJ81lofVFJxiq2yvzhjBOsSRoY3i5YoQceAoNI2dcEEk+3zkX5OmfR+vOIyodGzGbBRYyZWUlSo8UIi3dxbV5pVPT0YKTkVRWNCzi8ZAkb/AFfOKlQODlRuiO9rLE7qjYkAWvLKvFLQxOI7R4rjitK5pEmk78B8vTzv4kaay0Em4Y80DE0ocAYijz2L55H30/2iRwNBtm9IIUPOUvrGY40Q9GPEkntAr9KrSDp3UYlcAxRrCqkExRWrElZArY/5ZBAIY2DyTV6n6pIWYNI8SsncFBQhhHk1lzRRfAzF0L+h0YZW6/sTks0l9y2QfD01IwjVQoqWNmuQMaYEMrY0FNEff7DVe3fTt4cQFMbqMWPaQWCg5AZd0ZPA8HtP1BOT/GssPqHbSoxd8mz7rxiwBX/WIiXiwOH9/MvwR8fHc22+VQzv6alExVQFRwWtr7vU8/Sv11RxQm9qrOOn9N3+3libONkYrmMzlRVQz8ikxYZBRd0eedHx7o7zcSLUsEoRlSVouMVYgMrFaosVOJHP3AOrtuNtHRBFcUD/AGFfeyK1VOh9K/gIu9jIzNEAjOcY1oGUqCaCqWIsV4Ue3Kbc4KKSabfImmnaHcXOyzN6YQrCmKqWOLE/ijvOZqvlBHmtNukRxfg4rIkjumJkIza1f1CwBrwhb/f+ngWfouzO9km/jJYzEQf83sVitt3EH8pUVY8nydQ9c+KfRlRoQrKA5DjEh2urZlGYYAlOasH6WdIlV7mByvgYfE/pbeAGeQRZmlwUEMWNkBOCW9z+hOvK54c5bjlJFcXaknx4uh7f99WCTrn8SdrBk0ywmNRGzqDI6Kq5B2qiSDyTzlqvQdOka5YxG699wMSSUzeuCKxCEe55vjQw+APJYI+noI1tiWAo0gAseADZ/c6FPREYkEsC30Pn9vHJ86D3/VnYG6X/AGCCAAOPH09h9tQ9I6s0YExlBGJAUk52bNkVXHH99LkGCwxbGbaRyRQP6Ydy7c4vdKpAf8opKsUeTR0w+Bet7oNHJJuHeF1ZysickAcAOSAGY40Ca83WlMXxGJIWBW2YKquG8FjjyPJq7ONa5XfPCtxvWC9qnjwOAftwBzxprBSZ630br/8AEyNgn4a5DO1YFlYqQCprmuP0OmkuyRzbIrH6lQT/AH14x0z4xZFSJZ3GCgVdWAPm+/1/rpjuf/ULfIcYsZFr5nxu/fyQf7adaqF2lkRTrpiF8n+mhdl8RPLGrxKqK6gjsphfsfuPGsWE+WOuqzymicbxfZcv1/7aPfqbkARqsX1Nc/0FV+96XgAeK1HHugzOlm0xvg13CwR9R5H9DofUaLaNb53RbQeo+a3ZrtLDM8e+N0PrWpX3IAJ8Ackn2A8knWpGABJPABJ/QcnWlcMvFMGH1sEH/iNYxqfdYLk142Lr2sgWfsLsn6aW9d3xwVUPD3bh1AVQVWTk+4RmPj8uiN1ljHgbT1Aj13ELRQ1Rvtar9xX20N0rpJdcZSykGUEAgq4kAbMEDsIcmrAPHjkaVyLQh3DpOkmRTzTHEZAUaDA0f6X++nKdMUowdqUjGxZ5bt8VzydAdT352sMbUCPWhjZmulRnCsx+vHv7XftqrDrU8kMzQRBwjrgLLd08gmBBschlUCyB3i6qyjkdGnoXyHzT7hY5TGVcxbqoiXoFXhCcjkkLLIbBB8E/TUHTmlUuoYTToWd3LIcCoVAoQlSB6c5b/dFnmtRdOjlj2k8U/YryRIkfBYAiM5JjRYeLAPs3gjQHT94E3jCZgkKqCeQSzSbeNCcBeBpx5+vAvwp11SYftFkaRYSYyFk3GS2rXHKySqxIFEF45VoeAV+41Nuumw7dM2IgEkckHaQDi5APaSo7WGV88XojbfG8EUasE/GCJE9lRkkbNh3FgoJyJAJABaiR5K7fdH/i/UZD6hYGVVZpBaSDJSikFEJwuuO6x7HQajy1kyTbKn1CKSCVl/h2oeFLoRQGRc+ymvr48+DoAdXcl5fSjdTlIVMoDKgUMBRWyMSAKuyrV4Oj9wsksrq1qVFsK/OmBwVUB7balJBAo34vXG8gWR2yXOmxkBAuwo5LDi2YO3B+nFadSN0reCfpOxkzUzGJU4kdvUJHpu1NZw7GUd3PsQfY6ZpvdsriTbGRGVwsIc2tFsG7o7BHpgAZcg2OPGk525uEkWFvsAt+blbGNVrEl2pauybJFASbaaL8FZS4RRHGpyHaMlXL5eALYVzdqdK7aG09unJOQDud80m9BcBzmFoEFGsgAWSBiTQs1X9NN/SC+ukZV2OdJahiloF+WiT3MR7UAOa0qnhj20skkczPJtnZ0VomCu0UmPnwyhuDj99Ptr/6rPNtJVmgHqlGUYFgCxzU8UcSKFcm78jSw05JHV631UNWacPAJ/iMUm4U4EFlUZDIIWMjqvN2qqfAHFA83pLueqNj2k0z/h2gyGLANkxBL2jEAgg2DfNab7DYRNGHMuSh6sIwuvSLAdh7yXontN1wfebZ9MO6MKw4k5YRiRbCssPrHkLweLGRN3fHJ0O+TiK/N1YF5vxWxKgqrKaaTnziK7QBVg3fnjR3SN8Wj9SzmTjS2EFHuQgKeDHjYBPzACrJFzb4J2W0hD7vbszmJmOEsgJdcbQKZAuRJ9uONdSfBKTuDt849qSEApi6MpcyMQ1mmyAsHjEfpp6VUjRk07fAjWOFAuSMQRiWsFWXJCuSNQADSsxa+Bfmq0z6K6lZY5EU2E/GxXIMFMjkgg+a9MccYgcedLd506dGo16eMiqO0jtYQIWNUmagNdcWASC2m3UumJHtTLHTeiuGamRVLg3eD2ZKNuWBtjzQA0sU+Cs3GsZHvwt1YOJBJK1wenSuxA4SOQ815BKobHmMn3J0l631R0SMNIw3A255BZ6xaR3a8QMHCgZGuCboA6D2MsX4PcI1jnWR3JUjEUkUbOxBWMBODYs2fc6L6z0KVix4CCFRnlG2WaIHk/8A5CAhYfdv66z4onyyq7naGS4lQBpvT5DCyy2oUm/Jri+fb31AkjplEtPk/hCwINefHsLF8Hz9tWmHaFuobSJz6bTGRo1QFXjj9OULYPK2ic/cEe2g22rKQ6PEyhmZh5dI8QaFLQLWzMTbfKCOdIos21CjZdPUZSq3KNZWqxAkeiT+a8bGPi+dHRbVGWMqXJl8L8pXH8M5kfdCPHkH66j6RvjHCzo8YWRochJ8+JYOVC0aQmyTx+hvTPf9WikneTcOkMjoCgZ6C2BVUBlS+3Fk6bamgJ1yJtz0VQ+WLBak5BDHJVJAoXQ+Uk14NDm6StgxBCYHFQ1tkPUru4Hy2bNNzyPGnu3M00jpEnrDkMQoZSCMvJ4YnzV2a8EaGUyRMXl283IKC4S0Q59saxNjmvp+wg8ZRpU+CpQ9SIla3IX2H3J+/ihr0Dp8oGwkidFZpSjBjIRQA4BFUTTH3I7h9NVH/wBoktykZB9/UcH9KP8A1026rIR3t2UVFA5DiiTZN3QBrxwBrTkuYiJMhfYytkyJGyJ5F2QKFCuP/PbXWy2HU5wz7fZsY8iAQkZFjg0ZBZH6Ei7970J0lX9WUqWIe6LEg0fHvxxr2D4f6nHBtoo1kelUfQ19R41ya+u9FWo2V0nK/a6NQQBRSih9tc73demmdFgGXKvIUkKW/wB28j9gda6XI/op6wqXEZ1RGQ8kH6e/jRLNftr1rPF7mWNRk91+5Fft/wDupEgvzoiPaj2s/wDD9tKFIWbsuXjTEtHKWSQgWEtGZSa/KcSv6sv1002HRvTRVzJCqFFkk0BQsnm69yb0SNuv0Gku628pn3aAyAPt0eJsSYwxLK6eMbOK8E8Bj4uyC8YqsnUfQD6LWfxfUjLMPMgidVV7AAzaJQW482PAFWKRo0jaQmlUFjwfAFnirJr2A1WJN8Y22UskqLhC38SGfHj0siQnuSyXj7BSR41V+ufHDPI0sJlSCTbKzWFrFlHgWGDh3C2GI5aufCnVGLYy+Netod2kaXxE6A5j0z6iKUYAeTmyfMPC2OL0n+DviFFkWJw0pzPqYl1yxvFaJCZAgAZEGkJu24T9Xm9ZtqfT9IvtWQAsFcTJlHFkZAClMqFSWr2Hitbn6NI8O5waNDDIHY5sZCuHpSsGUlsFZSW8iyTdVal6pUGbrrrb2KYsoilR45qYFhUivEqKx/IAUJJyBZbx5ICHedRkWZg7ktjeQILepTFOCKK5gMaAsi7vnUhT0jMzELUDiP1Q47ezFY6Fepmh+QkVldUdddZRo5FvuCfNkSRLEFr1fxK8hfHHlqsFSRT3WuBk0o/Mzbz1HIwjtlVc1VWR1LteAAr8MuxITg8VZ1YOn/EboSVeRSpCo4BNxmTJqWrdQ1D/AHQKpq1UJdw4zU4liM3BQePw3plbsKqysQKK8tiFB5Z9PkJDSPkWwc3HRN4t6eZemkfIljbse7trwC8BXuwWDrPSz/Hum22ob1GJZ1rLFir5AepWGZyPtf01L8L/AA+snqmWRgYPRzCkBs8EtjSmzbNyTZKkke+q6vW5YgQrGP0oiqqDUoDDJFIFAMvoqSVskHg2ObbD1fdepP8Aw6tNCLLUCxkIABKNd3jkL92APubMavIs/asB3XtjAJlhykWX0gy4oXdTK6xZX8qq2A8/Q+5APkvU5n9QKiyFVN0DTWhAJy57sqN+3HA516b8X9PlZ4p1FsFGaLVn0Czx2GUH5mDFfluMc3zqqfF3w9LuI7hVXG3GUvdyWkPzKoNdqim4BpAea4MX2FnwmKJeiuV9T8QXC7HvuR2CNK134BKmx54PGhtk3B9RJBkKIWrC2AGGRrI4P5+/sdQs+7iQxpNlEwaMsh/DoqS4tlDBcWJJqq9+Nc9I+JHhVYmClAaBxBZRbMKNiwGkc8/zn24074JxlUrGPTN086MqcHKBVDX6ad5BZ2IpVOCWzWTVEnwbF8N/EkcE0Qdcyh9QyKWpWZBC0oWPiUsGK4jwEFZG9Vb4f6gzMIZZWSIuC6gnE4AlSQBbKDdj73550w6P1l52ZSMUaNsmIY0a7Bjl3U35j8wNHk8o1WSikpYZ7Xvkg3xUeorNt5gOLwMnBMZPIY9oteSOLA0D0zrboJLhDom5SIPTMXZ2HeAOKOZxcCj22RyR5p03dBZ7iZizOxshAnrrI8tCzQDAIC8bCgvuLOitv8Qgu5bAhJ/VUSAAGcJ8pPCRuokrkVYNCxwg+3sy8ybs/wAdCcysSybhGOR5czLuMaAo8Ko8jHE/prnqI28kqQo7VMrSsJCTSxth2gg9xYEUK4LEcAjVTj3AZMXixkO3LmRhciupjODWAz4DgVxcrXRFnmHf97bpQ0W4jkqKgCJAMm9Jq4h7COOB+JRBsHTKnyJtayh3/wCnkG2bayvuWS5JJSVJqMRx/hkUTTiwxyq6Kg+Bq/8ATo4/4YCB8kC9pBLUCMgODY4I4sHnXms3WjJstjCXSJZUHqNlGHMzcucSKHcxoe5YkihqxfC8kxhlWKmhfPBmKmgYkSIqq45IMKIyWyW54Fo6WQ7Wyv8Aw503cPM27khIsSCIvMQ+BXLMee3uKnwafi71Inw4rg1IYpppWjWMsuILLnI6j8i/mx4N+RZ1YW+G551haaOFJAHWQWGRFLGii4m3KKoyJtQ8lHnS3qHRpEG32rwxS7eFo7L2fWW7d3HPNjIgAksa8aW48Io3KTtiLc/BaySkLNDHIqk/w54d8LS1Jk7eFs9oAsDjSjqm1WSWRD8ykdp+pNcMPp4u64OrbL13c7qKPe9Pizji3EpxoKX/AA2jFlmAESg0eLtAa1fJkh3O19aVBXpljwMlxBsBhdEG/BrTtWQPGJNq0FvG4j9PuFOMhgMSavuNg+x4OrB0vf7ncuI19KVQKYOny2Ls0PPvq19K+HpYURpVWRCciMjSZ9xLLib5PLDwNFQ/DEaGOYIcgxPabA5Iv61Q8eNLWDWU5Pg3cAlWRHW/mBpq/Q/8NI5unIGCgkOxVxmeCoAKsB7CqHj7eeNeo9S2ySxyCJ2DtS9rV5IBPJo0CTQ+/vrzv462bOzvH2x2YgxvjABvp4yFUDyV+ulkqyg3YQ3w6VQOSoJFgCgCPY3oKuBbYmjwWA8Ej6/bQnRdg27VL9VSkeC3mvcS1sGUUQt/Kf5vfU8G43aAqXmSiaUJlQ9ucPNckfUnWjHuxWy7xrfvotEGounSRyIrobUj+o+xBFqw9wRY0eq66jzVExFH01J48D9tYkZPgaG6l1yLbNGJQfxA2JAGNgEhTzdsQFAANlgPOg2WhCwnpm4WeMSRsCrfuCPII9iPcaS/FnxG+xlyOPpeiS1qeHshDfgFmsAEc4HXnI61uWimEUvpIkonC5qApkJVKYfmWSMkjJQbJxrgMOufHj7mLcwsuJkYekUCkqpssr3w3KHkEkgiglHSnStOngtE/WP4np0e4OIV45Y5RJ2lpPSeMqAKY5M1nBhwOPrqizdMUtIFiEeGA5kyRVLUTZI9SlQ8fa/5dG9N6IN9t9r6EhCQrHFuVBTlpHhSQhhIXBJjDC1AJFjydKd06ruwuBxIdVBIEhAciNyrAYhuSMi3aSe0aDLQRN6yLDYhI9QzANgDX4kRjay1FrhIvK1s91+ROnTOF3Kq8io0SgyKeQGdXUSW2TENaUvnNya51Pu0YbHb4yBkZ3skxri4YkgizZBfiifJ4B4A/Stm8hkVZACkLOyNGzKcGph6a+eVUlqsWPvrZHwa3ziRIrxB7VHy+ljGQoUHEEAZMSfb1D55Jmh6wyblBgSPrO7KqH0wgQuoPaCCABfmuSSddb/ZlEeLBFKOrj0x/wDWUX1BRkoMAhBFZEp48krpRuSZJJldY7OQU1wiswvPIg4qAAR+UD20Ld2Ua0nBJWpd+KGcMBuOb0w0MilSWVm+VSuWR7+aRgQRfF8HRHSd2rko4haQoo9TJUIPqWxvlWtBeSjgWeRyLFtN/tNntA0SYyTQxsAJlZw8q0rhOUDUoIGJXtFAmxrXWPjliZikZWMxhS2N26uyOoeNWxVlFgMwu1o8nWrIq1JOKTK4+3e3AjIU5r+ICqlkGPyADGigWyD4I8HXEXUkjhkWeCyNr2DAtiGkxtQw7ARl8vA4Nn2Ih2bJJt4payWX/MDLIBFIFoBWUqQFZsiR7P4+YiT7g+pMIZGZs5IhaKHkxYAH1CpByLIbsGgSTXI1UC2y7xdflXa9NRVBEtK2WOLKyFUUkng2yrR5sE1xRqm46cYS6cySyAxkyEMsbqWjdlQjFgzE2GuwSOL0p6VuiYDODNEqPCqkG+/H8QBjygMbDEe4I57dEx/FEczi/VzVTleI7r7iWY8sSf11rafA+np6coyt57X9RH1xGiB26kGOw+Vd5JjVD3Xyhx8H/mdL5OhN6ayIcuxnIPBAUgUP5idWLqO6gaQfhu7VQCyKW4HjEG7r20u6h1BcYgiSQ40y+orU4ZxRBAsVywI84kea0252sA6WlGErkm6xV+V8kuLAtpHJECSKc5RkG/VAIXjHyAbC/XytVemLdAwPe5VaKnBTJnJTMyKIzynbRs/cjyAX0dY0/ElUM0cX8QCpag9s8YYmmoKihV7gTKCb1F0vp4EDZFzKpe4ngLRECPOjIBauwDdysCo/2jqsIbld0c+EGxQrMaLvG0W3iLESIrM8liRaoYIGIWj47vOeuoNs38SYM09ISJeKogWjkKo1ZwNsxqr5Hvrp27XcFHKj1I7YMWelDEooruMpsHlQrEvyTiDqPcbKNymRRoI4EEg4zVmV5FDMnEpLqWsZCl8CzqL9rpleVyMZdxGjHECVg57ZEqFcFDsOSAjdqmyT4JBGdaD2O8YRRembCxZhhEvJ5dlAFFwrOIihIBxY15szb9Qgk3ZfKPCI+XQoZC4K0UN2gVSCCK5UWND9I6QZ0Kx3NI7I0K2vyCXkEo1KQgZitH5iaOlk03gdXQz6ZvWEjMXVUVAqHEFnjlaNsB8wUM4KWWIpwFC0tMPhn4wO23EUcuCxSs4BXhc2Kngex9RmLCq7gQfYC73fGANGkapHSeoHGYtXZ40IZqEkbVz3Z2ee3gT4T3PpujzK7LKBEHW0LNMqMFLMe6OwCGFLbiguR0jTayG0uD29Tf8AYgiufeiD7f359tB9agDRE/mUWv8AtAeP0OlvRPiSKRJDkqrG+J7gQpoHEtVZDIce11qbdbwSA04FqwFYkgkcEWcSb55se2p221HgXbWRbsN3hE0ccaLlkz+QCSS7kAA93k+9k6S/CG+jR5toJA8BkZX/ABgXLnAuFFBsBVcAeTdtZ1ZUgUng0R4Ni7B4PbwOKPtzfA086ZMDwwXP60Lb78Dzqrl7tpNxxaCqBOPfX2JH9wb0snWHblmkZQCPB5ckHkgDmrr7abhDndflofuSf34/bUG92UUwHqKHC8j6j9ua48e9aoiB53u4USb+I2O6RQKMkchJbAfNQbuurq/H1rjSqPqLSQ7aJlWMHcqWOTAvTF2yIII+bz9SPNVq3dS9TcsySQhFmlSONDRkMYKtMxYNS2ikYjwRySTQq3UPh/19zOEIRIbxGTcsfmGd3+554GjJJDcD2FUBZlZ+LBjDHG+OQPJ/XzqbbzKgqpASbORBN0BfcCa4+uqj09WglH8RFGVJ4RlJk+xF8f1P769A2nW45EDKhrx3LRH2o+36caigsrnwbs5NrB6e5xzytcPBUi6P+sCSL9wE+lCyv1CJGRXaNDJeORonEW1Enkgc1rieIBHJOChGJayMRjy3H0HPGvIOtDdTGGCamm9NaEgPcU9R7YjtAeInigzBUu2GWrWQjHdlnpnwj1d2aTbbl19eOR1UWgkZAA3KrwWCspLAKCGHHk6i+Ofh4b7bB4GDSxMyoyEGiWCv491dBx5FEfpR4opW3G1DuwmQKFkIdZGjCEohSvqmHqVmQwJvGw56Z1CeCPqZBeM5LJDI6ktIxObFldflAGLGr/ENHhdLyX2UxV8H9CbdQOE7GBMcgMalSRTK6vVKeczYU2f3g690k7GSNfSrOgpD5CTCu/EilOUl3xWRBFeWew6h/wDMEm1SWCHdgdkbQ90lDuGRaNCS4v3o+xGrf8Z7JDshJPHCDEysBNJcYs4kMa7zR4XmyBoNsssStnnPRJ22zJJIrdkzJIWLUVEazKuApSp4+Y33EixxpR1rrLjf/wARtPSsMPTK92NY2imgrLk5UVVhq8jje9ZhFCaCh1fAIgvjH1Bxxw6VweKAF0dQwSAieSO2WMxu4NgW6uj1VEKSQf8Ac5JuzXSklLLF1I2rRZf/AH9DMjmXaNK6jwcSqSc0SxFiiL8A8aQbbbGOgsoWV4+1ispkkWYiPFirCjZ8gHnKzxRabtpd105ZmjJxxUSKVdTjaySvGyAqw9Pgo3/2fbVegQYP6gyURlaq6YKQOQT3gOwUnhCycEeNPzd/ahk49o15yG9Mkl3249MLk5QKcvTUIEVwfPlu5TyC5IaiPIY/D00kdpJ2w7gyRzJKwC3iaYsB2kspQPXcGA5oaS7TeTYtEQY45Emb0+LsrmXf8xNIFDMPrQBGmMe2PpxMxyDZDLtyzZ3aig5x7gB+w540q1OllK7waEY60+m3WLRv4hatwY4wewCNFjjcsqwMwVASC1jIAvVMReXnQTThMY42uNlaYhAAkcmDSAhSuXEUSNiWpiL50b0/qypT2qtKcBI4yIAIckH5s8VoEc2eOaGgmWVxB6MiqXTEqeIwYyUNccqAxYkmwD9uZrU6mao6NX0/Rltu+CXpPWZpAWUGhIGEhZiVkxVFHqVR5NhOOGa7A0d02MSTxxjsjENn8qo07j12Wl+XE2Aa+QAeToKXaEqVVZvSaRmmLtGLKA2+EfFE8fmHA96Ot7Do77gSCeT0pVaKJlkZKlICVbGQPl4PGVVQ9gHOd+CTYbgAwhS3pybhm+aQ20bB4xjHLiHRQBnQ+axeJpluOrvvPTjhUeskoRHdIhA4ckAP+Fziii+R70DYGlGxiYNGHchY2ZfwzgSHvLvC/Me6uD4486m2O0yaSOGMlwySxrZ4UBLYUQGYAtQN3R+oBXcrBXYN33Xpdn1Hcpt5FitlNRpG6onzCiynBAW8AAgVxwNJOt9Xn3UUrbm5ZY8ULYItXkS+IUE0FGNVxISfbVp2QU7ZZJXXlHd+xBJ+EBEM2r5RjZ9yQBdAgon2iTAO1hxMY5Fyq4wFkaiF7QxLCyGINe1AM5WwUksgvUemyRbYxtzLKNrDTkKY8F9Vh/LiAIxZJqybHI0rXdusKGGNkANsA34bkRC3NENZBLWKxyI1aN1vEidJYzGDA00wEsh4Mjmo0BFMDQJ9z9rJMXoXDHuJAAWdSFE/nJbUhEy7ivBDRilAFAAHRWpSrkZaSk8OgNyPXphLTkYshfwGQBqFgByvcaJBfkDxqTZNkc41xKRusORRYS4CsxK13O6S9vPdlyQAaI3WzcyMqp6iSqfUIIWJm9SSaNcwSA1xs5rzQXjUXUFhl2+3jhiWP1WlEchY5mSywJJAbFnYIvH1JHA0n0Gkq5AN7B+AoTFTIkSMfUpywzUtwQMTfOYPBADDnTCXdbhDEBGyXAYoVW8ikg9QOsii7dVL2eFsk1ydQdX63EHbJpFxUIuC42uJBTFlFgNZz8kSt9gOoIWO0k3FlfxlXbvkFQ2zK7EHiNAPF0MjQ8UTVIXdk3t+oBIWamUtt0Xljkxp4jNyCoLFyo59ru+NCSy5Sxicfw4lQJKQrHONVC5FeGQAooryLJsg8u5tiU2areZdIzEqD55ecXZwcmGZL+StmgdLv8UkdJ4z2MZIliydmQuJD6jmRgclGPuaA4o+SYuOb5DJSxXBGxdFn9aRwkR9IxjFsmyDRgUbZVWJO4qvIIu7Gpd/t44IY5Wj9SOTxIAo57rXAtlxg1miPvzrhoPUaQr5WLl4kEls5CAoQQzW5JL1kC58itQy9HMbQwg+pkiyO8RMhHBYKAEtfF1RJsXYFaCnQHDwBbXfpGcpVyUk0F80eQPmHjgWPOnXwt8RGLfJOqtguRCP9CMCPqCVLc88/bQP+FiRWlET4RyBBWbFLBP3YgUASf5hyNDDaqsyotBucqa8SF4BvwwyYEexBGi2qErsfTfS+px7mJZYmtT+4Pup+hGtwbZyX9QKcnJqie0cKLNflHivJOvAOm7t0fFZCtWD3NjbDHKgw5A5B/1R9NWzp3V23G7jdJHwSWFMbfxHgGsH5rALE1zzpHKuxuna5PTetQRLE0rop9FCUscKcaFfT2Gqr/hDxbGN82QumbkBSyO/cO1gQVNhGxrwD9dC9Z6285lh9LON5UW4wWkQEnJHA5BwFiv5T9Rdln6ltZUKt6qjxRTcJ54o9oNf20yyJOLhhlO3W68pKoDWCGUDG65u2Wr48H3++tRb7dRdqKuPse7kfXtPP66F+INzHFKsSMZUdQFc9pX7MaAJHjI/8tKTunHasppePav6GjY0lO6oB62rfcD299Vv4w6RCu3l3IVRJFHkhZmC5qxZBQ5ouxFDzlXvqly/EsW96Z6M83pbiJ0aJ/z5R9wZO4U2Ni7FEjVm+GviGDf7dtqWlDlCozI9RggAZ1mW1fyPPdyby86q1QsY9ysdQ6usmyj3DyF5nkaKY3RijUhqUoiubV14BJqV696sfxHvS/Snkf09wTGhT+HZlYIzYCUA3mVZgcSKJBBPnVN658NS7OHbKMXfbOZixjYM4Vg2fki1sRkeWAjv5BpEerzxqgil5x4jXFs3ZgPS9JfJBkN3fdmfmAGlLUmsYCtruXh2wdTLFJHuWbMoCpBUFWxdLEhMagNdc0QfOt734rn3SIHkeQlmjVOxh+IAotQoDseApNVya50u2CMVnjd7jaONnf1e0MrkgOWZQ95UQtmyAKJNcSdQIjk8oQzeVAUOSoBx8tIoGRZicS9+eW3yH4yND1hfTjSRRGVUoFAdmWaR5iWsyHO1KFgSaZiKXSnZloVnjdqXCwCynmw5agTZxSiRda52chZHU9tIG8HJgXTEkgc4kLRAF2ODqCWMRt+I62B8rEEsbalJDWoIC9x/n+lnW5wZvaO9vstxtw7ruhijBVgWSRlZ5EyCYJxkAWYkCrQ8g6wo7ONuu1EjHcSn1ZAyI8zWKrOqqqtsr8UTRAbpJ9XEhvQLkhowzAxqrFscmGQal5L2tHxfMkm43MqxL6zn1y0qxBSB6iWbDUAFGPzZEjEE8c6eDi1kzUrwPdj8HbhZA8sbYwIy9jI2ScoLUG/lJY/ZEAo+COpbRBIMExjIYYh8TCgkYWqlgRK5VlBsUFckkXpDD8V70EbV3c5Ni0ciq11+VieWQ+9tiQbNjQe4Mn4biIDGNV8XgFpmHaAaxYWPNNR50jafH5K1tfKb+RPLB686TFmb8UOAFohVVZJZZFWwi8pZVgRZON8Drd74Q+lFgWEEryAKoJSK8vJskG7YeL4J41NN0aXaSiJzHOkzgFQfxWQnGN8Caj7gD818LdUNCpHgscqxZwh5jlRyCjyshUWB4IDL7L48aFrsIrvOL8h2x2KSQTMv4ipKFU5CsVKyKqu1sGtnFsoVru78a2W5SKYhkctRkjGZUhzTQoyk2QlkEAg8tZPFD7Hp7vFxGkULqGEhoqzB2Z29RawVIlZcG8ZDwXGoOp7ZiJWZRapHJzioxkJKlRnTiqrHPx71esZulQVudqZNqkyEByzh1BW7XHtrhsx3GqquebLMJC8iGMo2MhXgliCB5yBAsEEMOL8gjRGz6o0W1FMGzlXI/KeY42rEMMyptcyGPBqhrIJ5hdyRoCWbmQfhRqSGYBbLp2hQTzkKI5s7bbyQynf4CY0eaKaSFpMckXvpiCR6khwX5QPUuhfggk+REJZYUijxJdS18HhixHN/7N83/TU3TJsCyZMLtgzks2ZVVLMoouQqmhxybF0LkChWZQrOWbtZO3mw2KyZZOVoeAFNe/nSWUqL7le3cLNI6+mWSwrM+V5oVEndfa2d/fu8V5d9W+ImklhEyMACS6JxiFHZgQvaqgquQ/Knn31Bvowq/hoGFBhGcmc5cBji/P8AtUSfrS0IP49TFSRnInJMGXIUlYkA2UkZ7K/rwKvVFkEXtuh3LupPxaiYYhDBeIwT0mRcUUlR2uSfqMC3NAqthvGbbGF8o2EqqXYglWkdmaw7KYipTJiLsE3Xza1tRMUjY3x7R3m7u/pvkvBaUNFdN5yBJ45yLpon3EvrPUKSepJlIBwQUBAUm3yUIWBPze2lwWW5q0dbgJBuzCIWklkDQ1atfqMBG8Ttfzg1X0f5jfDTqnR3hhhhnLxOEaT08R6eFsSoKg5PkVBp/BXtHDaVLvktZIY48omKxBo48WLSO6B4+RGUJZVYkEkjk1Wo99FLDnBm7kJyULvGWlcR1nXiolAb3oAVp6TJNtS7BA6oxDSSiV5YyrTFi+ca5dig1+GSOARiO43yNHdRd/Q3BQZmWnD+mFAZGQlRgSyquYKgHzbEnMDSr+GEMe6UoBI0vpFslXCIx3woLKYwVIPPPbZB8HEesXgeSPawWhxdlJZlxCYkgyFnCgF2NAAWSBjpaVjqToI226RVeVAxm3Kyqn4vfgiovAo1KJQVBagVJ88g66LDMduZAEkLsEcFvliUYJEMTiHBLDv9ifPsH1/p8yiIDamMq0ah2ezkVyUEAlUvhrSxRQGtEbbpMke5l24LkGYHllpiQDZINg5V9Rx+p0G8GwshvQ+jzIZmdWVkkJjGB9OyrKe2OzQlKsKIBw9stcdM7dxLNvIFmMmd+IwJKVlIYkUmClKsnleDzY0u5dtwUujwoOR4I9mNVRo+9EVwfGtP1VzKec1UgICQeSSKx5BvJua8AXqe51wS5yWLbdM20uxsi5ZVOLqlViBHI5KjFQGPCWcsTWV8GfAsmz2m1IaCU7ko8pDRysoUlggEigqiEALkaP1rVe6d0x5dvLEajEKN6ZIyLS5CUluCVBBKkKfN2CfLfY9WWOJF3cjrlC0XYbUGalNohIIA58Gslrw2mTxRXbi+5L8Kdei29fh+u0XqEPGRkECBRmWrEhB3fN49rrXqHw/1htzF6hheKzwH4JFC/PNhuKIFVrwfcbNTPJu0iKwLuDgoZUiaJXkhAjwBYmgbAI+U88jXo/wx8RxQbYgTbg+ngrRywtcRLBMQS2PDHxkWo82dUS7EZ+73Fz6xskkWmiEn6mjV+QfY++vOupdKi9V+2OTuIB9QqQB24kChfF/73nXprspJU/MBZH2Ni/64n9tVXrOy2iy1Lt0LUO4tCMvvTSK3m+SPIOiSR4MFIsqHCigSfIv7gUPBoeRXvWj9t8SttZ1mgxQqGIS+ACAPT7vmDHnj3JPGod9vFlQTGHEs7kCOZFjBUDJjFgWUG7ALi744GlrgSLYP6H/iDXNEfT66PJTc48HoXxP8aQbzp8C8zP6mLZCSL8YAY1TUeGYiy3yi6JB0kbr5VoY3CF9uJQk0ULM0fcFWQ18xuOgQFPPd918kjKtUpR5FkVY7HabRXWOjgO9qUjI2SQaB0qXdvllmbyVkYuMUbIvZJ4u7NHm+a50uClYJd1EzlWCMCUUKSxESswJlJJsUBldMAMWJ8Ea0kKOm2FpiqyWFR2IKuSZXAFtnWI8UAAaAvRjbkOmMsglp7R5GtVC2XkZRbMXNWCCTiSCb1x0d1dhjElorFlAILkuZAkar3M1DAZE/MOKAo8mqgjZbXFHWZvRLYBMyoYD1M1DQ8MgbBBmRiASb7joHdRRRuwKKrOe8yBmCqwHKqnPcCSLo8g8cEHKjs0800fC0DFI3LSp6eTfQjgsw8AuF8eB5ZMpWAVGtpFRqpWSTIZKuOUhUENlfAVQANI0FpMY7uZJPUj24/DZhkjKVhXHErIbjDBiqUQS3nk0L1N1jf7fcPFBstv2Ia/GYgEBLJJLkYFQ1NxzXHjSibbJHeLBgSy5Mvc6+CVyFRoGAa2I7X82DrPiDY/wsyII5FZUOT5G2PNDgUhRGUEDn6862nFRVIE8dwrr25iVI5BGwf8KSVCmA5DRlQW5xKrSsooA+55C3cTKk8aMzosRxZkbvViS0rA15VmK8DkRjXXQukrLuNuMi3Kvl5XGNe5SCMvnVUHtXjWtltLkVcmeR2ckEcGkLEE5d7B1XHjzfngavpTUHdCyTk7C+oSYRZlEdKEaqwbJQbbNCGFHFK98cqGmvTJWi3LelNHHGUkEiRqWWNQiyylchXpEqO6zytV4qmbhmztuPSoU9mypJrkVXFY/oPHh9s2PqBiEaOOJ56j9PhXjzKm/mZTS4t+WPxR52pKLVRVDwbk7ZDt9z6m8R5hn6gNkLw0sgIEjAnvNOG9i1AcHRu9LCKFSyvhGHDkXUbdvgjjlWpRfnkjwBR1JnjaCS3W1YkjFjS/iU0g7GCA+aFr4PFm7LdwyHdOUKQpCWEauTiz5IkIYqcVJIBIq8BYIvUJWGDTdeQKPqZC2yBkZ5FIwjAWV0Xuyq/JF2OQK9zrIpGMdwsjy5qwqKse4Dz6dLbkgWRwb4JIEHSzI0QCqSgaRmvCs/TpgMgb/Dw4otdlRYvR0MLQzOqUU7mB4A5ziT5+00Hb5uOTfm9M8CJJp2FdH6iTvvTkYMxcDPkWWpTdMGHJBWjd1q09X3wVU4BF3Ry+QGkVvm44eyQL48aofQZfU6mjysopnlLeEGAaayAe1Rjdc1QFaum/iLz/iYsywIpYYm2ZmcscRichi3HBux7HXR6fRepJRic+rqrTi2+CHb7yBlknSGEOGjRioWnckl0y9MYlrHnEGuMTwYBJs1cjBQ3qOnpxyqssZFjgqykg0RVE80wHuUnS4sWBQdwAYC6YLVX9QK4+mhZvhbbMb9Ojd8O45+vDedeg/hur5X/fY4f/R0vD/H+zsdB2n8MqlGJeRO5JSQGrEBo/WLIB8tk0KscDkkbJHftMgdO1UJUxAHuyTKMqW7iRWVlvm+o7fDsQVVIYorZhC7Ylv5jRsnk83fJ+uoofheONSA8hDckMVIujz8v3v+n0sFH8O1fC/kePxHSXDZPtemR+hHGZGAdmtW8vJyQGbBfUClTiDXF8EAa5g+H5Iish3jGRZXMZdUOLgqkiP+JbKQQKSvP1JGotp8O4Mv/wAiZwpBxdrU+ODVErQqiaon66edXVZlK2y3K0hKt3d3lDkpBW1Uih7DSP4drJfp/I8fiGk3+r8CSDpmSzhhC80rOLJwj9PnsURsQFsEglhwa4I1INqZduqYhJY3ctiJcZFkUrI5DoMpTi3y3QYmqJ1Ns9jIiLGZRQVvlQYlryDY/lOXJo0fp4qJtruGhNlGdQFU+wClSinFQQoK/Uk39qM36LVX+DKr1ulzvX8E3xLsJWaOWNIpFJje7wLPaqRID5sqI/via5PPLdHlk3SyM5hGLMpAQk0R2rywaw3d54sVzzztJZ1LGSCJyVGJWRkUPVElBwynk+1cfroqVyVSsmtLdCTiHLC+bN0CaNeODdnU36PU/a/4GXrIfuQm2HTrXCSCUD55CA5PzdguzmxHNZcf00Ft9mUBwj3CU7LbxRX3tipNhZKojmyASKJrTv8AiiYijRNyaCmMMoWzxQGPIo/a/tem/wDErOtq+KqjWXullyJVytKVxIGQ9wV96OoPQkrw19UP1VLhoq0U3orGyIjKvm7IfiyzBTyxUXkbr28ak6/Cu9RBA0duEDxrKva1hmKxyOGKLkR7WQfHnQXVYp9ssa+m6SS2zIw5YBn9MWLsnvIBI96sc6nh6pHAU9WF0kx7sVjCk3xTC7NWTfNjyfGoK4rgdMcz9LgjgjSKbBdvI2UcrKpllq8mZW5bEcUTxx4ABWdD3EwA9NnUyTc8qWkjbM0vaxDjFiQeBjfFkaD6tP6qkKjCNznZJwLd3dRNFqUi/PafpovqvWoY+nbX0dsU3CAEv6dRDEY+oFf5ybDWAQG+b7tHPI++uOx6l/6d/Eke6gcgsJRQKyGzgsaohDUAysFL2Pdzq1yS2e0Iw+t+/wBPl18+fCO33Jgk3EcYdlBKRnIiUO/eQoN4Eqcl8NRrkAj2zpe93fpKZYtuXIu45ziQfFBo7HFe5/XTquCMk+fJ4J8MdVj/AIXfwS0C+BiHIJezERV8ghuQTxZPtpeqGONVMbiNcrfHt9RiATmBTfKFq+DxrNZoXkqv02S7a/XDOwAWN1piwAbFlHyc2S1G/IyvXG224JMqGjt2iYljTv5dyrY/MDyDVBTZPFnNZpmHTVqn8wbpcPqTg0UiRnlNUzBF5x7j7CgSxrzZ0yXbxYeunDqLTEItguO9kFYVTIAoJJVjdVres0rYYpIYdWtdvEko9OVoJZIk7SXhljYLeAJSS40emoFW/mGq3toiyukjC1jXDzQSQmRms1iCvbdG/UUe+s1mmqhYtyZNJL62cjSFnLIRyQwsMMAxFhFA5a/GIA1x1Dd+o/agVAvyqpKgjmRgPC2RZxoUAPbWazQCMOk7DJdyWN+qoRfymR2UbmgaNfIL8JRBPtqP4a3cyLM4iWWBBciOFIxelYgHy2K1+g+us1mj3BeLOpdyajaKFfSgObo5IjYq5EbuxI9Ru70qHP4ZBu9DdY3RO4meIs8bKY/UHi2F9zAYk+f1A1rWa1CqVjPrceDJGsoaMsIczF6bmM4jI4t3x9zCiQ3t4OuOudbwdTFDDtWdSjekArhclNlQPwWIquSaJsnWtZovmhmtqtBvSPhn+HA3O5aAxY2AwZ5MziFBVSMTbEFrYDA8XzoXfTn1lMcZWM0I1JByQOyHF3sOeQbPF37DnNZpHyUS9oX8PdPEE0sk6ZhID6i2i8TMgILf5asEZrHjiq8jVgVV9afEswV1TJjy3pxol/Y0OR9b1ms16Xw/+6vueV65/wBJ/Y6La2XPvrNZr6JHgvgxZiDfuPGuktiB9dZrNOkTbJZF54FDWpP7VrNZpuwq5IJJhXg3ruGTgk3X0vz/ANtZrNTZZPPBz65PHv8AU6kgBIJ+n/n76zWa10ZK2cSxZWCSD7MDzWu9i5jcV8osMAeCpFe/F/rrNZoamnHUg1LwGGpLTmtvkB+L9hGIxMMh/lBpInIX5SsbleV8MyeDWV//AGEijptjKkkjySEIGJIid0D84qz3UeYHnn9ONZrNfHyj7j6mGcEG2mkDRy8MIqVQfGIYtiQtZAljdnmzd6fwfGQEhk9H12nVoiJyGxLNXYVALL3UQQLHH31ms0haqWPBY+mx+ohT+GCSze8bCPbsYVuyGQYRY5GrHhio8k9y/DW6kCeru1/DQIgiZsBGvygNGAHAJPcbP18azWam5OOUWj7nTP/Z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5" name="ZoneTexte 4"/>
          <p:cNvSpPr txBox="1"/>
          <p:nvPr/>
        </p:nvSpPr>
        <p:spPr>
          <a:xfrm>
            <a:off x="155575" y="2082635"/>
            <a:ext cx="874962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Any </a:t>
            </a:r>
            <a:r>
              <a:rPr lang="en-US" dirty="0"/>
              <a:t>live cell with two or three live </a:t>
            </a:r>
            <a:r>
              <a:rPr lang="en-US" dirty="0" err="1"/>
              <a:t>neighbours</a:t>
            </a:r>
            <a:r>
              <a:rPr lang="en-US" dirty="0"/>
              <a:t> lives on to the next </a:t>
            </a:r>
            <a:r>
              <a:rPr lang="en-US" dirty="0" smtClean="0"/>
              <a:t>generation</a:t>
            </a:r>
          </a:p>
          <a:p>
            <a:endParaRPr lang="en-US" dirty="0" smtClean="0"/>
          </a:p>
        </p:txBody>
      </p:sp>
      <p:sp>
        <p:nvSpPr>
          <p:cNvPr id="6" name="ZoneTexte 5"/>
          <p:cNvSpPr txBox="1"/>
          <p:nvPr/>
        </p:nvSpPr>
        <p:spPr>
          <a:xfrm>
            <a:off x="1907704" y="5085184"/>
            <a:ext cx="8652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Gen n</a:t>
            </a:r>
          </a:p>
        </p:txBody>
      </p:sp>
      <p:sp>
        <p:nvSpPr>
          <p:cNvPr id="7" name="ZoneTexte 6"/>
          <p:cNvSpPr txBox="1"/>
          <p:nvPr/>
        </p:nvSpPr>
        <p:spPr>
          <a:xfrm>
            <a:off x="6516216" y="5085184"/>
            <a:ext cx="12241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Gen n+1</a:t>
            </a:r>
          </a:p>
        </p:txBody>
      </p:sp>
      <p:pic>
        <p:nvPicPr>
          <p:cNvPr id="2" name="Imag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87869" y="3509293"/>
            <a:ext cx="1304925" cy="1314450"/>
          </a:xfrm>
          <a:prstGeom prst="rect">
            <a:avLst/>
          </a:prstGeom>
        </p:spPr>
      </p:pic>
      <p:pic>
        <p:nvPicPr>
          <p:cNvPr id="3" name="Imag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71059" y="3525608"/>
            <a:ext cx="1314450" cy="1304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49399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1331640" y="980728"/>
            <a:ext cx="5940152" cy="599478"/>
          </a:xfrm>
        </p:spPr>
        <p:txBody>
          <a:bodyPr/>
          <a:lstStyle/>
          <a:p>
            <a:r>
              <a:rPr lang="en-US" sz="3600" dirty="0" smtClean="0"/>
              <a:t>The Problem</a:t>
            </a:r>
            <a:endParaRPr lang="en-US" sz="2400" dirty="0"/>
          </a:p>
        </p:txBody>
      </p:sp>
      <p:sp>
        <p:nvSpPr>
          <p:cNvPr id="8" name="AutoShape 10" descr="data:image/jpeg;base64,/9j/4AAQSkZJRgABAQAAAQABAAD/2wCEAAkGBhQSEBQUExMWFRUVFRgaGBgXFhoeFxoXGhkbFxoYHxgcHDIeGBkjGxgeHy8gIycpLSwvGB8yNjIqNiYtLCoBCQoKDgwOGg8PGi8kHyUsKSwpLCwsLCwqLCwsLCwsLCwsLCwsLCwsLCwsLCwpLCwsLCwsLCwsLCwpLCwsLCwsLP/AABEIAKgBLAMBIgACEQEDEQH/xAAcAAACAgMBAQAAAAAAAAAAAAAEBQMGAAECBwj/xAA/EAACAgEDAwIEBAQCCQUAAwABAgMREgAEIQUiMRNBBjJRYSNCcZEUUoGhFTNTYnKCscHR4fAHFiRD8WNzsv/EABoBAAMBAQEBAAAAAAAAAAAAAAECAwAEBQb/xAAuEQACAgEDAwIFAwUBAAAAAAAAAQIRIQMSMRNBUQQiBWFxgaEyUpEjM0LR8BX/2gAMAwEAAhEDEQA/APTxreuc9Znrus4aOtZrnPWZa1mo6rWVrnPWZ61mo6rWtc56zPRsO03WsrXOetepzrWaiUPrPU1HnrRbQwNklz1sHUGesz0KDZNnrRbUOes9TQoNkutYjUfqa0W1sgJeNby1EG1megwo7L6jMut3pZ1WckBEJzLDwa8FbF/odBtIKyHPJqJn1R91NKvP8S/kihI1+/t9ARWmfw91tR6gll/MAob2AHPtwP10LHofTtxpN1hzhXNZD3seL40x3O/DBSrAg3z7HVf6vugPOI5Py37Cufprn1E2ysHRB0Nb3Uf2yb9lP/XV19Q6qnw3F3LKObLJ4aqADEilNmlPF39tN95upAeMlGfP4RrEFwRkTwDh83nuGjCaiqZpR3O0NQ51mWqTvuvTKHCyOCIyQQmQyJEakn2pmBr3rXW867KudO5xikY0gY9qkjz47q/U0NP1UL02XO9Zqi7rdM7wh2LEfNwT2imfgEAcA8nx7aBhndUgYM4lcKAQHbkj2iLVxfg+NbqA6bPRDz9TqTbpftz7cf8ALVFl+I5gjuJWoyOF7fy5lV7a54H9ddp8R7iPNjKwKIgsoF7sAzHEggctX9NHqYB0y8bi1UsylQOSxHsOdJx1qBiAJFJJqvezqsr8S7icKsk5dWSRmX0wnaWEaDwLFpJz75fTS/a7weUK36qKhCE0Rk7HPwTin9Mh9tCOpRpadnoQW/GuaHvf7aru038rSKuZq+eB48/TToufrq6lZFxoUjrMv87fudZ/jEv87fvoQqv1P7f99Zx/4dWs5NzC/wDFpf52/fWv8Wl/nb9zobiuP+f/AE10v/nGsbcyf/Fpf9I37nWz1OX/AEjfudCmRR7/APDWerfgX/XWBuYT/icv+kb9zrP8Sl/nb9zodSx9q116TfXQNuZOOpy/6Rv31v8AxOX/AEjfvqD0T9dbCH/81jbmFL1J/d3/AHB/trn/ABGX/St/5/XUSbNjqZNl9ToWbczX+JS/6Q66/wATk/0jf21MuyX3BOpY9jfhf7aXcg3IGHUpf52/tqVeoyV8zX/TR8XS74ofsf8AkNF/4RiOSv6ENf8A/m9K5odKQqG6lPuf7f8ATU8Jmb83/D/pouRlS+5bAugoJr9DrJurqg7nUeDQHJ8kcKLPANaR6hVRkztNlLV+p/Sv+uu1Wvmka/YAeT9PGg//AHRAcR3MSRQC1ZNFQcyBz/T76HHV2MsiRgPHVEhEUEEmlXnnLIfN4rnybm5t8HRHS/cNttOr+7eavG7P0HP20t/EaV/TicLGSQ7ISS1A0ADybH19h4vRkvWpMBjzcYAPBCkAksFwojIY+/t7aE3PxNIIo4y6lpFAD+qis1i+OKDVXND5hXPhHKy+xIUdW6bIioDChdaIYXkRdnJb5u+fP9tAnee8qqMSOwg/JzlRsEefYef00/XdbgyZCTGRSkOJlyUue7vNAKxQBuKsMCK4Jd7D4fIUJKIzEQ5apHMgcmzUhrsoV/XSbmHakUs9eLRx4JGtKcxTcEWbsLXP09qPOlHWt9k1dpPd8pU+T/qk/wB6Or31b4eSIB4ZsXxJQZVkByeSe+rFj76qm7k3BYmTI/UqiK3HsH9OxRH/AB0N1A22HfD3T/w4lkQglXsGPnFiyj/678SDjKh71oqbftXGQDoS1xuoIIVgLvEG5Tx5NN/KdJl69HGKeOZyBeRxkOYYPTWAw7lWjZrjwBrn+Niz7KGMKqowZDiZD+UnGqjThRY4s9wGlu8jJVgAnGUrGvLwpffQFtM3I7R/lj9xf0I+9fOaSiOFjTkt+eVSeBxeCNR/760z2wsEfiSsSM7FIqJfGIv1GofY+44gi2hTtlWVWMgNNkpIVHAsMBwfUP619tOZk3VpVaR7I7YXA5aspSIBwv8A/b5131GdRLFZ7Yg0h7iP8pTILrzyv6aWbeQh8KIzkiA7jfaS1Ae9uEFasG0+At+8kn4TIGTENJIighpELcAlvkBHIHn9sZindxD09vBdZGND3H3oHn5j58+db3u7B27MpJ9aRmWjZPqOSoF/YgAf0Grts/8A0vdWWSWdc1s3ZCiwRWOIJAvyHF17al3PwPAkSh9zMqqAp/hYyrEWBWRzmr64sOLvTInZTQrRh1c90ccafOG+WMMxPupzZuDXgag6Oe2O3J4kkILggZsIl49uImP+8dXuH4K6TtCCYTZB5llkYEe9jLH+2nW2i2rRlYEiAWl/CRBiV5xscgi/H31qNZ5t1HdyxJmgdfqy5ChX8w8A1rafFe6of/HPIv8AypOR9dWmLqe4V8GCOxDUzHt7Sq8sq9oJewCLpGJ8Xo+DrsxsGACjVidMTwDYyo1zXIHIOqZ7Mk6fYrQQV7frraD6G9No9ov0r+mpl23+rx9a107jzRONqT7H99SfwJ+n76Zkr9f212P00NwBbHsP/K1Muy/8rRwiv8xGpPTUef7/APc6G4NC70K12Nmx8D99MA4Hj+2tGcD/AL624NAqdNPvWpl2QHvrZ3A+v7DWhuSTwvH1P/TQsOCRNsPf/wA+mpPSXXHqhjV1XJUcfUDzzXB/bUsZA0ljGomU8BTwffRMUxU8Af11rbRlrth54oHx/wBdMdp0cH8xqz7f1vStlYxb4AN51JwjNkRSk8ceBf2+n11Xd98VIAxRizGscqAJ4sgfMfNfqPvzY/i7py/w2I/nQtzziDzx7nmxfuBqjHpLKmDyI8lIzY2AqsoJcXf5QBX0x45NRlPODu0tGNXIi3HUZJGBDHLAjj2UAkg15N354HnU0m4yA9OIytHTSIfAUBD2kn2Yn7gHz41xt9iwZC1sFyzVrLKoJS29zYxb2r9edA9b6qPT9NFDEf5jAWKPgAkVwoy/ViB7abS097t8Lkrq6iglGKy+Bu9vI8e277QqWN4pxkTTElT2lQB51Jt+ott1WqHpgBmkNhghAON3QyrgAVR+1J+lbv0FpoFFtTKXtWS6Vr/LICx55uvqNM32LAZmUIj0CrPdLYtMFFg4k3S/YnSyneFwNGGblyWBJi7gzuIs1KNx4s8eeDYy82RXkaA+It3DEsTRiKR45UlpiK5UhEq8rqieOOONB7qHBg24f1UclVMYGRZQxTOMXQAUm65HkeRrvq/RYVRV26uVWNuOW7gitWQ/lZxkPfyfB0kngLirqw7oHWQcJvSFygk93B9P1LaNWNfmxs1yovTodXikhkdnEhvBVCmwWtVIWuQzWQxFfpzrzxNvPFucZSqQnPC5F9MlUVXAdgvulkcAYjzwdPU6Tutqcty6SpKAkeMb130wX8MYggISC3F0L0sXboVpVZdd103bNkWxOBGTOeA2NA2eMq8j78+dRbTpykI6qrKQC3cCwLXlRHvyPFDg6856A8IkMMhLKwUj1PZiMglnzVceaP8ATV66Jto0nQKwB5NBvYX9+RZ8aarQltCL4j6QnLRgurMRiEKspBORNDkXzf0x/XVe3XTJArExlsPygH1PNAVVjm7B+l/S/VfiPZJLEuURmCMJAqsAS6kY8/Xmx7duhN/08SUscBUqxt+0Hniw93Xk/wBRxpZKsjrJ5DuZWdGADq5awe0eLHJvz8v99GtuDKg9WMFlrJ+TkzEAeAcB54HkD60NXLr3wdizEeo/vmqgUPuAbc/UgA6UD4aVwKkWzVUwNEGzYqwKBN1rOUkakKR1ASbpIpNtIgy9NXKtIlMTVA2RZoHjj9ORdfQ28s0SbZdxAWdTnC0ixUp9RkZcgqsfB7SeaOq1telHNXTck+m/ivcc8XxX3+/jTX4Y3A2USoxWZxLI7yF1B7gAFv6AVx/q6MWJK2WqbpMwkdk9Nkw7FYMXLBfDNkKBP2Ogx1TcRtT7L8ygGOQH5uLplFAHzzrW6+PUWPIgJxdZqeAa/Kftx4/XVa6r8ZTfwzzq0Yj8gE2zEyIlYKbQGye7kBW8jnVExKLfu+vRqAJc4siVyZLCnBnuwSAAqk8/TS/dpuVkpFSRSwonKPisibOV8fQeSB9aR/BPxIN5OqyQsPVuiguH8MFqYs1hyCfAqgBr1E6zb7BVd0UaPcTlmB28hxCm0dGQk5DEFipJGPPHuNO4vhrNQzyzIxAJVWUBftQHtpyYV44HB+mqr1j4tmg3EkbCJFBHpl+WdCikvw4oZ5rRH5b99NbaE25YjMwP5v2Ouowfqf3/AO+u02g+p1J6Z9gdXPKo3HCPcgakX0x5cGz9H4/YajG1vz/x1PHtvYDn99axkSwrB25P5v2YHjz7ke49tbk9JOfTXEmhkXs/fyNRQuAa9Mv/AL1f8tE76JJACY1Rqq1bnjxfHOptlVlYOoeowgikBI/1aH6nuPGgNwXkPexq+F9h+wA1NBGFUDk0PNCz9zXF66L631M8qmDLAB7f21jCh513/Fgsy5C1xse4y+X99Y0YJB54v9KPm/2/to2I0RKx/XUsTtfGpodoxIuh3G+DyOaH6+D/AEOiIZFjVhYaRb4vnwXAr2OP20rkkVhoykF7PasR3MaYciz4+p+2hd78WGIyn02kCggYcm0ieZrHAFhQAbqyB71qp/EPxDLnIUfAY4cA5BopmHHI7csrNj8gvuF8R9ZznWdQzYRkypQVSPx0XFiQrGnRTZ4pOdRc7PRhoqKHsfV1LSrMyhHACE85PWJGC8gZKDRqy3Gqxv8AbAOsmK04xLBu4lA0TBlN5JSrV2T47SNID1OJZVaN5W26SgiF4lcoFPcUnkk9UOcWa+AMjxWh9x1hpS04UpGTimTH1aByJIHaoLm/N8WBxpNrb5LRlFYLT8M7YEzSRljLOJFdWshsgXUeT3DwScapq86i6dINwJVJCYSxoKFM7G+wBe7tUk3XGZrxpZ6LwDEgUwHg8AMHBkkH53ZgW8BRwKqxqTpu33ErSKWyzEZDiyplVGcs4uwAGBBHHK8k86Ltu2Uwlxz+CN+mZVzShsVy7i3qfnI8AcAggm/W+miR0thHEyP6kfqiORcLbKQBVPiqBDZck2fA131/4Y3EEIznhYjwkUb5KwQ4qH4NdoX6DLwebTwTNGDHGzAsGaQnub2fxxXK2PJ81lofVFJxiq2yvzhjBOsSRoY3i5YoQceAoNI2dcEEk+3zkX5OmfR+vOIyodGzGbBRYyZWUlSo8UIi3dxbV5pVPT0YKTkVRWNCzi8ZAkb/AFfOKlQODlRuiO9rLE7qjYkAWvLKvFLQxOI7R4rjitK5pEmk78B8vTzv4kaay0Em4Y80DE0ocAYijz2L55H30/2iRwNBtm9IIUPOUvrGY40Q9GPEkntAr9KrSDp3UYlcAxRrCqkExRWrElZArY/5ZBAIY2DyTV6n6pIWYNI8SsncFBQhhHk1lzRRfAzF0L+h0YZW6/sTks0l9y2QfD01IwjVQoqWNmuQMaYEMrY0FNEff7DVe3fTt4cQFMbqMWPaQWCg5AZd0ZPA8HtP1BOT/GssPqHbSoxd8mz7rxiwBX/WIiXiwOH9/MvwR8fHc22+VQzv6alExVQFRwWtr7vU8/Sv11RxQm9qrOOn9N3+3libONkYrmMzlRVQz8ikxYZBRd0eedHx7o7zcSLUsEoRlSVouMVYgMrFaosVOJHP3AOrtuNtHRBFcUD/AGFfeyK1VOh9K/gIu9jIzNEAjOcY1oGUqCaCqWIsV4Ue3Kbc4KKSabfImmnaHcXOyzN6YQrCmKqWOLE/ijvOZqvlBHmtNukRxfg4rIkjumJkIza1f1CwBrwhb/f+ngWfouzO9km/jJYzEQf83sVitt3EH8pUVY8nydQ9c+KfRlRoQrKA5DjEh2urZlGYYAlOasH6WdIlV7mByvgYfE/pbeAGeQRZmlwUEMWNkBOCW9z+hOvK54c5bjlJFcXaknx4uh7f99WCTrn8SdrBk0ywmNRGzqDI6Kq5B2qiSDyTzlqvQdOka5YxG699wMSSUzeuCKxCEe55vjQw+APJYI+noI1tiWAo0gAseADZ/c6FPREYkEsC30Pn9vHJ86D3/VnYG6X/AGCCAAOPH09h9tQ9I6s0YExlBGJAUk52bNkVXHH99LkGCwxbGbaRyRQP6Ydy7c4vdKpAf8opKsUeTR0w+Bet7oNHJJuHeF1ZysickAcAOSAGY40Ca83WlMXxGJIWBW2YKquG8FjjyPJq7ONa5XfPCtxvWC9qnjwOAftwBzxprBSZ630br/8AEyNgn4a5DO1YFlYqQCprmuP0OmkuyRzbIrH6lQT/AH14x0z4xZFSJZ3GCgVdWAPm+/1/rpjuf/ULfIcYsZFr5nxu/fyQf7adaqF2lkRTrpiF8n+mhdl8RPLGrxKqK6gjsphfsfuPGsWE+WOuqzymicbxfZcv1/7aPfqbkARqsX1Nc/0FV+96XgAeK1HHugzOlm0xvg13CwR9R5H9DofUaLaNb53RbQeo+a3ZrtLDM8e+N0PrWpX3IAJ8Ackn2A8knWpGABJPABJ/QcnWlcMvFMGH1sEH/iNYxqfdYLk142Lr2sgWfsLsn6aW9d3xwVUPD3bh1AVQVWTk+4RmPj8uiN1ljHgbT1Aj13ELRQ1Rvtar9xX20N0rpJdcZSykGUEAgq4kAbMEDsIcmrAPHjkaVyLQh3DpOkmRTzTHEZAUaDA0f6X++nKdMUowdqUjGxZ5bt8VzydAdT352sMbUCPWhjZmulRnCsx+vHv7XftqrDrU8kMzQRBwjrgLLd08gmBBschlUCyB3i6qyjkdGnoXyHzT7hY5TGVcxbqoiXoFXhCcjkkLLIbBB8E/TUHTmlUuoYTToWd3LIcCoVAoQlSB6c5b/dFnmtRdOjlj2k8U/YryRIkfBYAiM5JjRYeLAPs3gjQHT94E3jCZgkKqCeQSzSbeNCcBeBpx5+vAvwp11SYftFkaRYSYyFk3GS2rXHKySqxIFEF45VoeAV+41Nuumw7dM2IgEkckHaQDi5APaSo7WGV88XojbfG8EUasE/GCJE9lRkkbNh3FgoJyJAJABaiR5K7fdH/i/UZD6hYGVVZpBaSDJSikFEJwuuO6x7HQajy1kyTbKn1CKSCVl/h2oeFLoRQGRc+ymvr48+DoAdXcl5fSjdTlIVMoDKgUMBRWyMSAKuyrV4Oj9wsksrq1qVFsK/OmBwVUB7balJBAo34vXG8gWR2yXOmxkBAuwo5LDi2YO3B+nFadSN0reCfpOxkzUzGJU4kdvUJHpu1NZw7GUd3PsQfY6ZpvdsriTbGRGVwsIc2tFsG7o7BHpgAZcg2OPGk525uEkWFvsAt+blbGNVrEl2pauybJFASbaaL8FZS4RRHGpyHaMlXL5eALYVzdqdK7aG09unJOQDud80m9BcBzmFoEFGsgAWSBiTQs1X9NN/SC+ukZV2OdJahiloF+WiT3MR7UAOa0qnhj20skkczPJtnZ0VomCu0UmPnwyhuDj99Ptr/6rPNtJVmgHqlGUYFgCxzU8UcSKFcm78jSw05JHV631UNWacPAJ/iMUm4U4EFlUZDIIWMjqvN2qqfAHFA83pLueqNj2k0z/h2gyGLANkxBL2jEAgg2DfNab7DYRNGHMuSh6sIwuvSLAdh7yXontN1wfebZ9MO6MKw4k5YRiRbCssPrHkLweLGRN3fHJ0O+TiK/N1YF5vxWxKgqrKaaTnziK7QBVg3fnjR3SN8Wj9SzmTjS2EFHuQgKeDHjYBPzACrJFzb4J2W0hD7vbszmJmOEsgJdcbQKZAuRJ9uONdSfBKTuDt849qSEApi6MpcyMQ1mmyAsHjEfpp6VUjRk07fAjWOFAuSMQRiWsFWXJCuSNQADSsxa+Bfmq0z6K6lZY5EU2E/GxXIMFMjkgg+a9MccYgcedLd506dGo16eMiqO0jtYQIWNUmagNdcWASC2m3UumJHtTLHTeiuGamRVLg3eD2ZKNuWBtjzQA0sU+Cs3GsZHvwt1YOJBJK1wenSuxA4SOQ815BKobHmMn3J0l631R0SMNIw3A255BZ6xaR3a8QMHCgZGuCboA6D2MsX4PcI1jnWR3JUjEUkUbOxBWMBODYs2fc6L6z0KVix4CCFRnlG2WaIHk/8A5CAhYfdv66z4onyyq7naGS4lQBpvT5DCyy2oUm/Jri+fb31AkjplEtPk/hCwINefHsLF8Hz9tWmHaFuobSJz6bTGRo1QFXjj9OULYPK2ic/cEe2g22rKQ6PEyhmZh5dI8QaFLQLWzMTbfKCOdIos21CjZdPUZSq3KNZWqxAkeiT+a8bGPi+dHRbVGWMqXJl8L8pXH8M5kfdCPHkH66j6RvjHCzo8YWRochJ8+JYOVC0aQmyTx+hvTPf9WikneTcOkMjoCgZ6C2BVUBlS+3Fk6bamgJ1yJtz0VQ+WLBak5BDHJVJAoXQ+Uk14NDm6StgxBCYHFQ1tkPUru4Hy2bNNzyPGnu3M00jpEnrDkMQoZSCMvJ4YnzV2a8EaGUyRMXl283IKC4S0Q59saxNjmvp+wg8ZRpU+CpQ9SIla3IX2H3J+/ihr0Dp8oGwkidFZpSjBjIRQA4BFUTTH3I7h9NVH/wBoktykZB9/UcH9KP8A1026rIR3t2UVFA5DiiTZN3QBrxwBrTkuYiJMhfYytkyJGyJ5F2QKFCuP/PbXWy2HU5wz7fZsY8iAQkZFjg0ZBZH6Ei7970J0lX9WUqWIe6LEg0fHvxxr2D4f6nHBtoo1kelUfQ19R41ya+u9FWo2V0nK/a6NQQBRSih9tc73demmdFgGXKvIUkKW/wB28j9gda6XI/op6wqXEZ1RGQ8kH6e/jRLNftr1rPF7mWNRk91+5Fft/wDupEgvzoiPaj2s/wDD9tKFIWbsuXjTEtHKWSQgWEtGZSa/KcSv6sv1002HRvTRVzJCqFFkk0BQsnm69yb0SNuv0Gku628pn3aAyAPt0eJsSYwxLK6eMbOK8E8Bj4uyC8YqsnUfQD6LWfxfUjLMPMgidVV7AAzaJQW482PAFWKRo0jaQmlUFjwfAFnirJr2A1WJN8Y22UskqLhC38SGfHj0siQnuSyXj7BSR41V+ufHDPI0sJlSCTbKzWFrFlHgWGDh3C2GI5aufCnVGLYy+Netod2kaXxE6A5j0z6iKUYAeTmyfMPC2OL0n+DviFFkWJw0pzPqYl1yxvFaJCZAgAZEGkJu24T9Xm9ZtqfT9IvtWQAsFcTJlHFkZAClMqFSWr2Hitbn6NI8O5waNDDIHY5sZCuHpSsGUlsFZSW8iyTdVal6pUGbrrrb2KYsoilR45qYFhUivEqKx/IAUJJyBZbx5ICHedRkWZg7ktjeQILepTFOCKK5gMaAsi7vnUhT0jMzELUDiP1Q47ezFY6Fepmh+QkVldUdddZRo5FvuCfNkSRLEFr1fxK8hfHHlqsFSRT3WuBk0o/Mzbz1HIwjtlVc1VWR1LteAAr8MuxITg8VZ1YOn/EboSVeRSpCo4BNxmTJqWrdQ1D/AHQKpq1UJdw4zU4liM3BQePw3plbsKqysQKK8tiFB5Z9PkJDSPkWwc3HRN4t6eZemkfIljbse7trwC8BXuwWDrPSz/Hum22ob1GJZ1rLFir5AepWGZyPtf01L8L/AA+snqmWRgYPRzCkBs8EtjSmzbNyTZKkke+q6vW5YgQrGP0oiqqDUoDDJFIFAMvoqSVskHg2ObbD1fdepP8Aw6tNCLLUCxkIABKNd3jkL92APubMavIs/asB3XtjAJlhykWX0gy4oXdTK6xZX8qq2A8/Q+5APkvU5n9QKiyFVN0DTWhAJy57sqN+3HA516b8X9PlZ4p1FsFGaLVn0Czx2GUH5mDFfluMc3zqqfF3w9LuI7hVXG3GUvdyWkPzKoNdqim4BpAea4MX2FnwmKJeiuV9T8QXC7HvuR2CNK134BKmx54PGhtk3B9RJBkKIWrC2AGGRrI4P5+/sdQs+7iQxpNlEwaMsh/DoqS4tlDBcWJJqq9+Nc9I+JHhVYmClAaBxBZRbMKNiwGkc8/zn24074JxlUrGPTN086MqcHKBVDX6ad5BZ2IpVOCWzWTVEnwbF8N/EkcE0Qdcyh9QyKWpWZBC0oWPiUsGK4jwEFZG9Vb4f6gzMIZZWSIuC6gnE4AlSQBbKDdj73550w6P1l52ZSMUaNsmIY0a7Bjl3U35j8wNHk8o1WSikpYZ7Xvkg3xUeorNt5gOLwMnBMZPIY9oteSOLA0D0zrboJLhDom5SIPTMXZ2HeAOKOZxcCj22RyR5p03dBZ7iZizOxshAnrrI8tCzQDAIC8bCgvuLOitv8Qgu5bAhJ/VUSAAGcJ8pPCRuokrkVYNCxwg+3sy8ybs/wAdCcysSybhGOR5czLuMaAo8Ko8jHE/prnqI28kqQo7VMrSsJCTSxth2gg9xYEUK4LEcAjVTj3AZMXixkO3LmRhciupjODWAz4DgVxcrXRFnmHf97bpQ0W4jkqKgCJAMm9Jq4h7COOB+JRBsHTKnyJtayh3/wCnkG2bayvuWS5JJSVJqMRx/hkUTTiwxyq6Kg+Bq/8ATo4/4YCB8kC9pBLUCMgODY4I4sHnXms3WjJstjCXSJZUHqNlGHMzcucSKHcxoe5YkihqxfC8kxhlWKmhfPBmKmgYkSIqq45IMKIyWyW54Fo6WQ7Wyv8Aw503cPM27khIsSCIvMQ+BXLMee3uKnwafi71Inw4rg1IYpppWjWMsuILLnI6j8i/mx4N+RZ1YW+G551haaOFJAHWQWGRFLGii4m3KKoyJtQ8lHnS3qHRpEG32rwxS7eFo7L2fWW7d3HPNjIgAksa8aW48Io3KTtiLc/BaySkLNDHIqk/w54d8LS1Jk7eFs9oAsDjSjqm1WSWRD8ykdp+pNcMPp4u64OrbL13c7qKPe9Pizji3EpxoKX/AA2jFlmAESg0eLtAa1fJkh3O19aVBXpljwMlxBsBhdEG/BrTtWQPGJNq0FvG4j9PuFOMhgMSavuNg+x4OrB0vf7ncuI19KVQKYOny2Ls0PPvq19K+HpYURpVWRCciMjSZ9xLLib5PLDwNFQ/DEaGOYIcgxPabA5Iv61Q8eNLWDWU5Pg3cAlWRHW/mBpq/Q/8NI5unIGCgkOxVxmeCoAKsB7CqHj7eeNeo9S2ySxyCJ2DtS9rV5IBPJo0CTQ+/vrzv462bOzvH2x2YgxvjABvp4yFUDyV+ulkqyg3YQ3w6VQOSoJFgCgCPY3oKuBbYmjwWA8Ej6/bQnRdg27VL9VSkeC3mvcS1sGUUQt/Kf5vfU8G43aAqXmSiaUJlQ9ucPNckfUnWjHuxWy7xrfvotEGounSRyIrobUj+o+xBFqw9wRY0eq66jzVExFH01J48D9tYkZPgaG6l1yLbNGJQfxA2JAGNgEhTzdsQFAANlgPOg2WhCwnpm4WeMSRsCrfuCPII9iPcaS/FnxG+xlyOPpeiS1qeHshDfgFmsAEc4HXnI61uWimEUvpIkonC5qApkJVKYfmWSMkjJQbJxrgMOufHj7mLcwsuJkYekUCkqpssr3w3KHkEkgiglHSnStOngtE/WP4np0e4OIV45Y5RJ2lpPSeMqAKY5M1nBhwOPrqizdMUtIFiEeGA5kyRVLUTZI9SlQ8fa/5dG9N6IN9t9r6EhCQrHFuVBTlpHhSQhhIXBJjDC1AJFjydKd06ruwuBxIdVBIEhAciNyrAYhuSMi3aSe0aDLQRN6yLDYhI9QzANgDX4kRjay1FrhIvK1s91+ROnTOF3Kq8io0SgyKeQGdXUSW2TENaUvnNya51Pu0YbHb4yBkZ3skxri4YkgizZBfiifJ4B4A/Stm8hkVZACkLOyNGzKcGph6a+eVUlqsWPvrZHwa3ziRIrxB7VHy+ljGQoUHEEAZMSfb1D55Jmh6wyblBgSPrO7KqH0wgQuoPaCCABfmuSSddb/ZlEeLBFKOrj0x/wDWUX1BRkoMAhBFZEp48krpRuSZJJldY7OQU1wiswvPIg4qAAR+UD20Ld2Ua0nBJWpd+KGcMBuOb0w0MilSWVm+VSuWR7+aRgQRfF8HRHSd2rko4haQoo9TJUIPqWxvlWtBeSjgWeRyLFtN/tNntA0SYyTQxsAJlZw8q0rhOUDUoIGJXtFAmxrXWPjliZikZWMxhS2N26uyOoeNWxVlFgMwu1o8nWrIq1JOKTK4+3e3AjIU5r+ICqlkGPyADGigWyD4I8HXEXUkjhkWeCyNr2DAtiGkxtQw7ARl8vA4Nn2Ih2bJJt4payWX/MDLIBFIFoBWUqQFZsiR7P4+YiT7g+pMIZGZs5IhaKHkxYAH1CpByLIbsGgSTXI1UC2y7xdflXa9NRVBEtK2WOLKyFUUkng2yrR5sE1xRqm46cYS6cySyAxkyEMsbqWjdlQjFgzE2GuwSOL0p6VuiYDODNEqPCqkG+/H8QBjygMbDEe4I57dEx/FEczi/VzVTleI7r7iWY8sSf11rafA+np6coyt57X9RH1xGiB26kGOw+Vd5JjVD3Xyhx8H/mdL5OhN6ayIcuxnIPBAUgUP5idWLqO6gaQfhu7VQCyKW4HjEG7r20u6h1BcYgiSQ40y+orU4ZxRBAsVywI84kea0252sA6WlGErkm6xV+V8kuLAtpHJECSKc5RkG/VAIXjHyAbC/XytVemLdAwPe5VaKnBTJnJTMyKIzynbRs/cjyAX0dY0/ElUM0cX8QCpag9s8YYmmoKihV7gTKCb1F0vp4EDZFzKpe4ngLRECPOjIBauwDdysCo/2jqsIbld0c+EGxQrMaLvG0W3iLESIrM8liRaoYIGIWj47vOeuoNs38SYM09ISJeKogWjkKo1ZwNsxqr5Hvrp27XcFHKj1I7YMWelDEooruMpsHlQrEvyTiDqPcbKNymRRoI4EEg4zVmV5FDMnEpLqWsZCl8CzqL9rpleVyMZdxGjHECVg57ZEqFcFDsOSAjdqmyT4JBGdaD2O8YRRembCxZhhEvJ5dlAFFwrOIihIBxY15szb9Qgk3ZfKPCI+XQoZC4K0UN2gVSCCK5UWND9I6QZ0Kx3NI7I0K2vyCXkEo1KQgZitH5iaOlk03gdXQz6ZvWEjMXVUVAqHEFnjlaNsB8wUM4KWWIpwFC0tMPhn4wO23EUcuCxSs4BXhc2Kngex9RmLCq7gQfYC73fGANGkapHSeoHGYtXZ40IZqEkbVz3Z2ee3gT4T3PpujzK7LKBEHW0LNMqMFLMe6OwCGFLbiguR0jTayG0uD29Tf8AYgiufeiD7f359tB9agDRE/mUWv8AtAeP0OlvRPiSKRJDkqrG+J7gQpoHEtVZDIce11qbdbwSA04FqwFYkgkcEWcSb55se2p221HgXbWRbsN3hE0ccaLlkz+QCSS7kAA93k+9k6S/CG+jR5toJA8BkZX/ABgXLnAuFFBsBVcAeTdtZ1ZUgUng0R4Ni7B4PbwOKPtzfA086ZMDwwXP60Lb78Dzqrl7tpNxxaCqBOPfX2JH9wb0snWHblmkZQCPB5ckHkgDmrr7abhDndflofuSf34/bUG92UUwHqKHC8j6j9ua48e9aoiB53u4USb+I2O6RQKMkchJbAfNQbuurq/H1rjSqPqLSQ7aJlWMHcqWOTAvTF2yIII+bz9SPNVq3dS9TcsySQhFmlSONDRkMYKtMxYNS2ikYjwRySTQq3UPh/19zOEIRIbxGTcsfmGd3+554GjJJDcD2FUBZlZ+LBjDHG+OQPJ/XzqbbzKgqpASbORBN0BfcCa4+uqj09WglH8RFGVJ4RlJk+xF8f1P769A2nW45EDKhrx3LRH2o+36caigsrnwbs5NrB6e5xzytcPBUi6P+sCSL9wE+lCyv1CJGRXaNDJeORonEW1Enkgc1rieIBHJOChGJayMRjy3H0HPGvIOtDdTGGCamm9NaEgPcU9R7YjtAeInigzBUu2GWrWQjHdlnpnwj1d2aTbbl19eOR1UWgkZAA3KrwWCspLAKCGHHk6i+Ofh4b7bB4GDSxMyoyEGiWCv491dBx5FEfpR4opW3G1DuwmQKFkIdZGjCEohSvqmHqVmQwJvGw56Z1CeCPqZBeM5LJDI6ktIxObFldflAGLGr/ENHhdLyX2UxV8H9CbdQOE7GBMcgMalSRTK6vVKeczYU2f3g690k7GSNfSrOgpD5CTCu/EilOUl3xWRBFeWew6h/wDMEm1SWCHdgdkbQ90lDuGRaNCS4v3o+xGrf8Z7JDshJPHCDEysBNJcYs4kMa7zR4XmyBoNsssStnnPRJ22zJJIrdkzJIWLUVEazKuApSp4+Y33EixxpR1rrLjf/wARtPSsMPTK92NY2imgrLk5UVVhq8jje9ZhFCaCh1fAIgvjH1Bxxw6VweKAF0dQwSAieSO2WMxu4NgW6uj1VEKSQf8Ac5JuzXSklLLF1I2rRZf/AH9DMjmXaNK6jwcSqSc0SxFiiL8A8aQbbbGOgsoWV4+1ispkkWYiPFirCjZ8gHnKzxRabtpd105ZmjJxxUSKVdTjaySvGyAqw9Pgo3/2fbVegQYP6gyURlaq6YKQOQT3gOwUnhCycEeNPzd/ahk49o15yG9Mkl3249MLk5QKcvTUIEVwfPlu5TyC5IaiPIY/D00kdpJ2w7gyRzJKwC3iaYsB2kspQPXcGA5oaS7TeTYtEQY45Emb0+LsrmXf8xNIFDMPrQBGmMe2PpxMxyDZDLtyzZ3aig5x7gB+w540q1OllK7waEY60+m3WLRv4hatwY4wewCNFjjcsqwMwVASC1jIAvVMReXnQTThMY42uNlaYhAAkcmDSAhSuXEUSNiWpiL50b0/qypT2qtKcBI4yIAIckH5s8VoEc2eOaGgmWVxB6MiqXTEqeIwYyUNccqAxYkmwD9uZrU6mao6NX0/Rltu+CXpPWZpAWUGhIGEhZiVkxVFHqVR5NhOOGa7A0d02MSTxxjsjENn8qo07j12Wl+XE2Aa+QAeToKXaEqVVZvSaRmmLtGLKA2+EfFE8fmHA96Ot7Do77gSCeT0pVaKJlkZKlICVbGQPl4PGVVQ9gHOd+CTYbgAwhS3pybhm+aQ20bB4xjHLiHRQBnQ+axeJpluOrvvPTjhUeskoRHdIhA4ckAP+Fziii+R70DYGlGxiYNGHchY2ZfwzgSHvLvC/Me6uD4486m2O0yaSOGMlwySxrZ4UBLYUQGYAtQN3R+oBXcrBXYN33Xpdn1Hcpt5FitlNRpG6onzCiynBAW8AAgVxwNJOt9Xn3UUrbm5ZY8ULYItXkS+IUE0FGNVxISfbVp2QU7ZZJXXlHd+xBJ+EBEM2r5RjZ9yQBdAgon2iTAO1hxMY5Fyq4wFkaiF7QxLCyGINe1AM5WwUksgvUemyRbYxtzLKNrDTkKY8F9Vh/LiAIxZJqybHI0rXdusKGGNkANsA34bkRC3NENZBLWKxyI1aN1vEidJYzGDA00wEsh4Mjmo0BFMDQJ9z9rJMXoXDHuJAAWdSFE/nJbUhEy7ivBDRilAFAAHRWpSrkZaSk8OgNyPXphLTkYshfwGQBqFgByvcaJBfkDxqTZNkc41xKRusORRYS4CsxK13O6S9vPdlyQAaI3WzcyMqp6iSqfUIIWJm9SSaNcwSA1xs5rzQXjUXUFhl2+3jhiWP1WlEchY5mSywJJAbFnYIvH1JHA0n0Gkq5AN7B+AoTFTIkSMfUpywzUtwQMTfOYPBADDnTCXdbhDEBGyXAYoVW8ikg9QOsii7dVL2eFsk1ydQdX63EHbJpFxUIuC42uJBTFlFgNZz8kSt9gOoIWO0k3FlfxlXbvkFQ2zK7EHiNAPF0MjQ8UTVIXdk3t+oBIWamUtt0Xljkxp4jNyCoLFyo59ru+NCSy5Sxicfw4lQJKQrHONVC5FeGQAooryLJsg8u5tiU2areZdIzEqD55ecXZwcmGZL+StmgdLv8UkdJ4z2MZIliydmQuJD6jmRgclGPuaA4o+SYuOb5DJSxXBGxdFn9aRwkR9IxjFsmyDRgUbZVWJO4qvIIu7Gpd/t44IY5Wj9SOTxIAo57rXAtlxg1miPvzrhoPUaQr5WLl4kEls5CAoQQzW5JL1kC58itQy9HMbQwg+pkiyO8RMhHBYKAEtfF1RJsXYFaCnQHDwBbXfpGcpVyUk0F80eQPmHjgWPOnXwt8RGLfJOqtguRCP9CMCPqCVLc88/bQP+FiRWlET4RyBBWbFLBP3YgUASf5hyNDDaqsyotBucqa8SF4BvwwyYEexBGi2qErsfTfS+px7mJZYmtT+4Pup+hGtwbZyX9QKcnJqie0cKLNflHivJOvAOm7t0fFZCtWD3NjbDHKgw5A5B/1R9NWzp3V23G7jdJHwSWFMbfxHgGsH5rALE1zzpHKuxuna5PTetQRLE0rop9FCUscKcaFfT2Gqr/hDxbGN82QumbkBSyO/cO1gQVNhGxrwD9dC9Z6285lh9LON5UW4wWkQEnJHA5BwFiv5T9Rdln6ltZUKt6qjxRTcJ54o9oNf20yyJOLhhlO3W68pKoDWCGUDG65u2Wr48H3++tRb7dRdqKuPse7kfXtPP66F+INzHFKsSMZUdQFc9pX7MaAJHjI/8tKTunHasppePav6GjY0lO6oB62rfcD299Vv4w6RCu3l3IVRJFHkhZmC5qxZBQ5ouxFDzlXvqly/EsW96Z6M83pbiJ0aJ/z5R9wZO4U2Ni7FEjVm+GviGDf7dtqWlDlCozI9RggAZ1mW1fyPPdyby86q1QsY9ysdQ6usmyj3DyF5nkaKY3RijUhqUoiubV14BJqV696sfxHvS/Snkf09wTGhT+HZlYIzYCUA3mVZgcSKJBBPnVN658NS7OHbKMXfbOZixjYM4Vg2fki1sRkeWAjv5BpEerzxqgil5x4jXFs3ZgPS9JfJBkN3fdmfmAGlLUmsYCtruXh2wdTLFJHuWbMoCpBUFWxdLEhMagNdc0QfOt734rn3SIHkeQlmjVOxh+IAotQoDseApNVya50u2CMVnjd7jaONnf1e0MrkgOWZQ95UQtmyAKJNcSdQIjk8oQzeVAUOSoBx8tIoGRZicS9+eW3yH4yND1hfTjSRRGVUoFAdmWaR5iWsyHO1KFgSaZiKXSnZloVnjdqXCwCynmw5agTZxSiRda52chZHU9tIG8HJgXTEkgc4kLRAF2ODqCWMRt+I62B8rEEsbalJDWoIC9x/n+lnW5wZvaO9vstxtw7ruhijBVgWSRlZ5EyCYJxkAWYkCrQ8g6wo7ONuu1EjHcSn1ZAyI8zWKrOqqqtsr8UTRAbpJ9XEhvQLkhowzAxqrFscmGQal5L2tHxfMkm43MqxL6zn1y0qxBSB6iWbDUAFGPzZEjEE8c6eDi1kzUrwPdj8HbhZA8sbYwIy9jI2ScoLUG/lJY/ZEAo+COpbRBIMExjIYYh8TCgkYWqlgRK5VlBsUFckkXpDD8V70EbV3c5Ni0ciq11+VieWQ+9tiQbNjQe4Mn4biIDGNV8XgFpmHaAaxYWPNNR50jafH5K1tfKb+RPLB686TFmb8UOAFohVVZJZZFWwi8pZVgRZON8Drd74Q+lFgWEEryAKoJSK8vJskG7YeL4J41NN0aXaSiJzHOkzgFQfxWQnGN8Caj7gD818LdUNCpHgscqxZwh5jlRyCjyshUWB4IDL7L48aFrsIrvOL8h2x2KSQTMv4ipKFU5CsVKyKqu1sGtnFsoVru78a2W5SKYhkctRkjGZUhzTQoyk2QlkEAg8tZPFD7Hp7vFxGkULqGEhoqzB2Z29RawVIlZcG8ZDwXGoOp7ZiJWZRapHJzioxkJKlRnTiqrHPx71esZulQVudqZNqkyEByzh1BW7XHtrhsx3GqquebLMJC8iGMo2MhXgliCB5yBAsEEMOL8gjRGz6o0W1FMGzlXI/KeY42rEMMyptcyGPBqhrIJ5hdyRoCWbmQfhRqSGYBbLp2hQTzkKI5s7bbyQynf4CY0eaKaSFpMckXvpiCR6khwX5QPUuhfggk+REJZYUijxJdS18HhixHN/7N83/TU3TJsCyZMLtgzks2ZVVLMoouQqmhxybF0LkChWZQrOWbtZO3mw2KyZZOVoeAFNe/nSWUqL7le3cLNI6+mWSwrM+V5oVEndfa2d/fu8V5d9W+ImklhEyMACS6JxiFHZgQvaqgquQ/Knn31Bvowq/hoGFBhGcmc5cBji/P8AtUSfrS0IP49TFSRnInJMGXIUlYkA2UkZ7K/rwKvVFkEXtuh3LupPxaiYYhDBeIwT0mRcUUlR2uSfqMC3NAqthvGbbGF8o2EqqXYglWkdmaw7KYipTJiLsE3Xza1tRMUjY3x7R3m7u/pvkvBaUNFdN5yBJ45yLpon3EvrPUKSepJlIBwQUBAUm3yUIWBPze2lwWW5q0dbgJBuzCIWklkDQ1atfqMBG8Ttfzg1X0f5jfDTqnR3hhhhnLxOEaT08R6eFsSoKg5PkVBp/BXtHDaVLvktZIY48omKxBo48WLSO6B4+RGUJZVYkEkjk1Wo99FLDnBm7kJyULvGWlcR1nXiolAb3oAVp6TJNtS7BA6oxDSSiV5YyrTFi+ca5dig1+GSOARiO43yNHdRd/Q3BQZmWnD+mFAZGQlRgSyquYKgHzbEnMDSr+GEMe6UoBI0vpFslXCIx3woLKYwVIPPPbZB8HEesXgeSPawWhxdlJZlxCYkgyFnCgF2NAAWSBjpaVjqToI226RVeVAxm3Kyqn4vfgiovAo1KJQVBagVJ88g66LDMduZAEkLsEcFvliUYJEMTiHBLDv9ifPsH1/p8yiIDamMq0ah2ezkVyUEAlUvhrSxRQGtEbbpMke5l24LkGYHllpiQDZINg5V9Rx+p0G8GwshvQ+jzIZmdWVkkJjGB9OyrKe2OzQlKsKIBw9stcdM7dxLNvIFmMmd+IwJKVlIYkUmClKsnleDzY0u5dtwUujwoOR4I9mNVRo+9EVwfGtP1VzKec1UgICQeSSKx5BvJua8AXqe51wS5yWLbdM20uxsi5ZVOLqlViBHI5KjFQGPCWcsTWV8GfAsmz2m1IaCU7ko8pDRysoUlggEigqiEALkaP1rVe6d0x5dvLEajEKN6ZIyLS5CUluCVBBKkKfN2CfLfY9WWOJF3cjrlC0XYbUGalNohIIA58Gslrw2mTxRXbi+5L8Kdei29fh+u0XqEPGRkECBRmWrEhB3fN49rrXqHw/1htzF6hheKzwH4JFC/PNhuKIFVrwfcbNTPJu0iKwLuDgoZUiaJXkhAjwBYmgbAI+U88jXo/wx8RxQbYgTbg+ngrRywtcRLBMQS2PDHxkWo82dUS7EZ+73Fz6xskkWmiEn6mjV+QfY++vOupdKi9V+2OTuIB9QqQB24kChfF/73nXprspJU/MBZH2Ni/64n9tVXrOy2iy1Lt0LUO4tCMvvTSK3m+SPIOiSR4MFIsqHCigSfIv7gUPBoeRXvWj9t8SttZ1mgxQqGIS+ACAPT7vmDHnj3JPGod9vFlQTGHEs7kCOZFjBUDJjFgWUG7ALi744GlrgSLYP6H/iDXNEfT66PJTc48HoXxP8aQbzp8C8zP6mLZCSL8YAY1TUeGYiy3yi6JB0kbr5VoY3CF9uJQk0ULM0fcFWQ18xuOgQFPPd918kjKtUpR5FkVY7HabRXWOjgO9qUjI2SQaB0qXdvllmbyVkYuMUbIvZJ4u7NHm+a50uClYJd1EzlWCMCUUKSxESswJlJJsUBldMAMWJ8Ea0kKOm2FpiqyWFR2IKuSZXAFtnWI8UAAaAvRjbkOmMsglp7R5GtVC2XkZRbMXNWCCTiSCb1x0d1dhjElorFlAILkuZAkar3M1DAZE/MOKAo8mqgjZbXFHWZvRLYBMyoYD1M1DQ8MgbBBmRiASb7joHdRRRuwKKrOe8yBmCqwHKqnPcCSLo8g8cEHKjs0800fC0DFI3LSp6eTfQjgsw8AuF8eB5ZMpWAVGtpFRqpWSTIZKuOUhUENlfAVQANI0FpMY7uZJPUj24/DZhkjKVhXHErIbjDBiqUQS3nk0L1N1jf7fcPFBstv2Ia/GYgEBLJJLkYFQ1NxzXHjSibbJHeLBgSy5Mvc6+CVyFRoGAa2I7X82DrPiDY/wsyII5FZUOT5G2PNDgUhRGUEDn6862nFRVIE8dwrr25iVI5BGwf8KSVCmA5DRlQW5xKrSsooA+55C3cTKk8aMzosRxZkbvViS0rA15VmK8DkRjXXQukrLuNuMi3Kvl5XGNe5SCMvnVUHtXjWtltLkVcmeR2ckEcGkLEE5d7B1XHjzfngavpTUHdCyTk7C+oSYRZlEdKEaqwbJQbbNCGFHFK98cqGmvTJWi3LelNHHGUkEiRqWWNQiyylchXpEqO6zytV4qmbhmztuPSoU9mypJrkVXFY/oPHh9s2PqBiEaOOJ56j9PhXjzKm/mZTS4t+WPxR52pKLVRVDwbk7ZDt9z6m8R5hn6gNkLw0sgIEjAnvNOG9i1AcHRu9LCKFSyvhGHDkXUbdvgjjlWpRfnkjwBR1JnjaCS3W1YkjFjS/iU0g7GCA+aFr4PFm7LdwyHdOUKQpCWEauTiz5IkIYqcVJIBIq8BYIvUJWGDTdeQKPqZC2yBkZ5FIwjAWV0Xuyq/JF2OQK9zrIpGMdwsjy5qwqKse4Dz6dLbkgWRwb4JIEHSzI0QCqSgaRmvCs/TpgMgb/Dw4otdlRYvR0MLQzOqUU7mB4A5ziT5+00Hb5uOTfm9M8CJJp2FdH6iTvvTkYMxcDPkWWpTdMGHJBWjd1q09X3wVU4BF3Ry+QGkVvm44eyQL48aofQZfU6mjysopnlLeEGAaayAe1Rjdc1QFaum/iLz/iYsywIpYYm2ZmcscRichi3HBux7HXR6fRepJRic+rqrTi2+CHb7yBlknSGEOGjRioWnckl0y9MYlrHnEGuMTwYBJs1cjBQ3qOnpxyqssZFjgqykg0RVE80wHuUnS4sWBQdwAYC6YLVX9QK4+mhZvhbbMb9Ojd8O45+vDedeg/hur5X/fY4f/R0vD/H+zsdB2n8MqlGJeRO5JSQGrEBo/WLIB8tk0KscDkkbJHftMgdO1UJUxAHuyTKMqW7iRWVlvm+o7fDsQVVIYorZhC7Ylv5jRsnk83fJ+uoofheONSA8hDckMVIujz8v3v+n0sFH8O1fC/kePxHSXDZPtemR+hHGZGAdmtW8vJyQGbBfUClTiDXF8EAa5g+H5Iish3jGRZXMZdUOLgqkiP+JbKQQKSvP1JGotp8O4Mv/wAiZwpBxdrU+ODVErQqiaon66edXVZlK2y3K0hKt3d3lDkpBW1Uih7DSP4drJfp/I8fiGk3+r8CSDpmSzhhC80rOLJwj9PnsURsQFsEglhwa4I1INqZduqYhJY3ctiJcZFkUrI5DoMpTi3y3QYmqJ1Ns9jIiLGZRQVvlQYlryDY/lOXJo0fp4qJtruGhNlGdQFU+wClSinFQQoK/Uk39qM36LVX+DKr1ulzvX8E3xLsJWaOWNIpFJje7wLPaqRID5sqI/via5PPLdHlk3SyM5hGLMpAQk0R2rywaw3d54sVzzztJZ1LGSCJyVGJWRkUPVElBwynk+1cfroqVyVSsmtLdCTiHLC+bN0CaNeODdnU36PU/a/4GXrIfuQm2HTrXCSCUD55CA5PzdguzmxHNZcf00Ft9mUBwj3CU7LbxRX3tipNhZKojmyASKJrTv8AiiYijRNyaCmMMoWzxQGPIo/a/tem/wDErOtq+KqjWXullyJVytKVxIGQ9wV96OoPQkrw19UP1VLhoq0U3orGyIjKvm7IfiyzBTyxUXkbr28ak6/Cu9RBA0duEDxrKva1hmKxyOGKLkR7WQfHnQXVYp9ssa+m6SS2zIw5YBn9MWLsnvIBI96sc6nh6pHAU9WF0kx7sVjCk3xTC7NWTfNjyfGoK4rgdMcz9LgjgjSKbBdvI2UcrKpllq8mZW5bEcUTxx4ABWdD3EwA9NnUyTc8qWkjbM0vaxDjFiQeBjfFkaD6tP6qkKjCNznZJwLd3dRNFqUi/PafpovqvWoY+nbX0dsU3CAEv6dRDEY+oFf5ybDWAQG+b7tHPI++uOx6l/6d/Eke6gcgsJRQKyGzgsaohDUAysFL2Pdzq1yS2e0Iw+t+/wBPl18+fCO33Jgk3EcYdlBKRnIiUO/eQoN4Eqcl8NRrkAj2zpe93fpKZYtuXIu45ziQfFBo7HFe5/XTquCMk+fJ4J8MdVj/AIXfwS0C+BiHIJezERV8ghuQTxZPtpeqGONVMbiNcrfHt9RiATmBTfKFq+DxrNZoXkqv02S7a/XDOwAWN1piwAbFlHyc2S1G/IyvXG224JMqGjt2iYljTv5dyrY/MDyDVBTZPFnNZpmHTVqn8wbpcPqTg0UiRnlNUzBF5x7j7CgSxrzZ0yXbxYeunDqLTEItguO9kFYVTIAoJJVjdVres0rYYpIYdWtdvEko9OVoJZIk7SXhljYLeAJSS40emoFW/mGq3toiyukjC1jXDzQSQmRms1iCvbdG/UUe+s1mmqhYtyZNJL62cjSFnLIRyQwsMMAxFhFA5a/GIA1x1Dd+o/agVAvyqpKgjmRgPC2RZxoUAPbWazQCMOk7DJdyWN+qoRfymR2UbmgaNfIL8JRBPtqP4a3cyLM4iWWBBciOFIxelYgHy2K1+g+us1mj3BeLOpdyajaKFfSgObo5IjYq5EbuxI9Ru70qHP4ZBu9DdY3RO4meIs8bKY/UHi2F9zAYk+f1A1rWa1CqVjPrceDJGsoaMsIczF6bmM4jI4t3x9zCiQ3t4OuOudbwdTFDDtWdSjekArhclNlQPwWIquSaJsnWtZovmhmtqtBvSPhn+HA3O5aAxY2AwZ5MziFBVSMTbEFrYDA8XzoXfTn1lMcZWM0I1JByQOyHF3sOeQbPF37DnNZpHyUS9oX8PdPEE0sk6ZhID6i2i8TMgILf5asEZrHjiq8jVgVV9afEswV1TJjy3pxol/Y0OR9b1ms16Xw/+6vueV65/wBJ/Y6La2XPvrNZr6JHgvgxZiDfuPGuktiB9dZrNOkTbJZF54FDWpP7VrNZpuwq5IJJhXg3ruGTgk3X0vz/ANtZrNTZZPPBz65PHv8AU6kgBIJ+n/n76zWa10ZK2cSxZWCSD7MDzWu9i5jcV8osMAeCpFe/F/rrNZoamnHUg1LwGGpLTmtvkB+L9hGIxMMh/lBpInIX5SsbleV8MyeDWV//AGEijptjKkkjySEIGJIid0D84qz3UeYHnn9ONZrNfHyj7j6mGcEG2mkDRy8MIqVQfGIYtiQtZAljdnmzd6fwfGQEhk9H12nVoiJyGxLNXYVALL3UQQLHH31ms0haqWPBY+mx+ohT+GCSze8bCPbsYVuyGQYRY5GrHhio8k9y/DW6kCeru1/DQIgiZsBGvygNGAHAJPcbP18azWam5OOUWj7nTP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9" name="AutoShape 12" descr="data:image/jpeg;base64,/9j/4AAQSkZJRgABAQAAAQABAAD/2wCEAAkGBhQSEBQUExMWFRUVFRgaGBgXFhoeFxoXGhkbFxoYHxgcHDIeGBkjGxgeHy8gIycpLSwvGB8yNjIqNiYtLCoBCQoKDgwOGg8PGi8kHyUsKSwpLCwsLCwqLCwsLCwsLCwsLCwsLCwsLCwsLCwpLCwsLCwsLCwsLCwpLCwsLCwsLP/AABEIAKgBLAMBIgACEQEDEQH/xAAcAAACAgMBAQAAAAAAAAAAAAAEBQMGAAECBwj/xAA/EAACAgEDAwIEBAQCCQUAAwABAgMREgAEIQUiMRNBBjJRYSNCcZEUUoGhFTNTYnKCscHR4fAHFiRD8WNzsv/EABoBAAMBAQEBAAAAAAAAAAAAAAECAwAEBQb/xAAuEQACAgEDAwIFAwUBAAAAAAAAAQIRIQMSMRNBUQQiBWFxgaEyUpEjM0LR8BX/2gAMAwEAAhEDEQA/APTxreuc9Znrus4aOtZrnPWZa1mo6rWVrnPWZ61mo6rWtc56zPRsO03WsrXOetepzrWaiUPrPU1HnrRbQwNklz1sHUGesz0KDZNnrRbUOes9TQoNkutYjUfqa0W1sgJeNby1EG1megwo7L6jMut3pZ1WckBEJzLDwa8FbF/odBtIKyHPJqJn1R91NKvP8S/kihI1+/t9ARWmfw91tR6gll/MAob2AHPtwP10LHofTtxpN1hzhXNZD3seL40x3O/DBSrAg3z7HVf6vugPOI5Py37Cufprn1E2ysHRB0Nb3Uf2yb9lP/XV19Q6qnw3F3LKObLJ4aqADEilNmlPF39tN95upAeMlGfP4RrEFwRkTwDh83nuGjCaiqZpR3O0NQ51mWqTvuvTKHCyOCIyQQmQyJEakn2pmBr3rXW867KudO5xikY0gY9qkjz47q/U0NP1UL02XO9Zqi7rdM7wh2LEfNwT2imfgEAcA8nx7aBhndUgYM4lcKAQHbkj2iLVxfg+NbqA6bPRDz9TqTbpftz7cf8ALVFl+I5gjuJWoyOF7fy5lV7a54H9ddp8R7iPNjKwKIgsoF7sAzHEggctX9NHqYB0y8bi1UsylQOSxHsOdJx1qBiAJFJJqvezqsr8S7icKsk5dWSRmX0wnaWEaDwLFpJz75fTS/a7weUK36qKhCE0Rk7HPwTin9Mh9tCOpRpadnoQW/GuaHvf7aru038rSKuZq+eB48/TToufrq6lZFxoUjrMv87fudZ/jEv87fvoQqv1P7f99Zx/4dWs5NzC/wDFpf52/fWv8Wl/nb9zobiuP+f/AE10v/nGsbcyf/Fpf9I37nWz1OX/AEjfudCmRR7/APDWerfgX/XWBuYT/icv+kb9zrP8Sl/nb9zodSx9q116TfXQNuZOOpy/6Rv31v8AxOX/AEjfvqD0T9dbCH/81jbmFL1J/d3/AHB/trn/ABGX/St/5/XUSbNjqZNl9ToWbczX+JS/6Q66/wATk/0jf21MuyX3BOpY9jfhf7aXcg3IGHUpf52/tqVeoyV8zX/TR8XS74ofsf8AkNF/4RiOSv6ENf8A/m9K5odKQqG6lPuf7f8ATU8Jmb83/D/pouRlS+5bAugoJr9DrJurqg7nUeDQHJ8kcKLPANaR6hVRkztNlLV+p/Sv+uu1Wvmka/YAeT9PGg//AHRAcR3MSRQC1ZNFQcyBz/T76HHV2MsiRgPHVEhEUEEmlXnnLIfN4rnybm5t8HRHS/cNttOr+7eavG7P0HP20t/EaV/TicLGSQ7ISS1A0ADybH19h4vRkvWpMBjzcYAPBCkAksFwojIY+/t7aE3PxNIIo4y6lpFAD+qis1i+OKDVXND5hXPhHKy+xIUdW6bIioDChdaIYXkRdnJb5u+fP9tAnee8qqMSOwg/JzlRsEefYef00/XdbgyZCTGRSkOJlyUue7vNAKxQBuKsMCK4Jd7D4fIUJKIzEQ5apHMgcmzUhrsoV/XSbmHakUs9eLRx4JGtKcxTcEWbsLXP09qPOlHWt9k1dpPd8pU+T/qk/wB6Or31b4eSIB4ZsXxJQZVkByeSe+rFj76qm7k3BYmTI/UqiK3HsH9OxRH/AB0N1A22HfD3T/w4lkQglXsGPnFiyj/678SDjKh71oqbftXGQDoS1xuoIIVgLvEG5Tx5NN/KdJl69HGKeOZyBeRxkOYYPTWAw7lWjZrjwBrn+Niz7KGMKqowZDiZD+UnGqjThRY4s9wGlu8jJVgAnGUrGvLwpffQFtM3I7R/lj9xf0I+9fOaSiOFjTkt+eVSeBxeCNR/760z2wsEfiSsSM7FIqJfGIv1GofY+44gi2hTtlWVWMgNNkpIVHAsMBwfUP619tOZk3VpVaR7I7YXA5aspSIBwv8A/b5131GdRLFZ7Yg0h7iP8pTILrzyv6aWbeQh8KIzkiA7jfaS1Ae9uEFasG0+At+8kn4TIGTENJIighpELcAlvkBHIHn9sZindxD09vBdZGND3H3oHn5j58+db3u7B27MpJ9aRmWjZPqOSoF/YgAf0Grts/8A0vdWWSWdc1s3ZCiwRWOIJAvyHF17al3PwPAkSh9zMqqAp/hYyrEWBWRzmr64sOLvTInZTQrRh1c90ccafOG+WMMxPupzZuDXgag6Oe2O3J4kkILggZsIl49uImP+8dXuH4K6TtCCYTZB5llkYEe9jLH+2nW2i2rRlYEiAWl/CRBiV5xscgi/H31qNZ5t1HdyxJmgdfqy5ChX8w8A1rafFe6of/HPIv8AypOR9dWmLqe4V8GCOxDUzHt7Sq8sq9oJewCLpGJ8Xo+DrsxsGACjVidMTwDYyo1zXIHIOqZ7Mk6fYrQQV7frraD6G9No9ov0r+mpl23+rx9a107jzRONqT7H99SfwJ+n76Zkr9f212P00NwBbHsP/K1Muy/8rRwiv8xGpPTUef7/APc6G4NC70K12Nmx8D99MA4Hj+2tGcD/AL624NAqdNPvWpl2QHvrZ3A+v7DWhuSTwvH1P/TQsOCRNsPf/wA+mpPSXXHqhjV1XJUcfUDzzXB/bUsZA0ljGomU8BTwffRMUxU8Af11rbRlrth54oHx/wBdMdp0cH8xqz7f1vStlYxb4AN51JwjNkRSk8ceBf2+n11Xd98VIAxRizGscqAJ4sgfMfNfqPvzY/i7py/w2I/nQtzziDzx7nmxfuBqjHpLKmDyI8lIzY2AqsoJcXf5QBX0x45NRlPODu0tGNXIi3HUZJGBDHLAjj2UAkg15N354HnU0m4yA9OIytHTSIfAUBD2kn2Yn7gHz41xt9iwZC1sFyzVrLKoJS29zYxb2r9edA9b6qPT9NFDEf5jAWKPgAkVwoy/ViB7abS097t8Lkrq6iglGKy+Bu9vI8e277QqWN4pxkTTElT2lQB51Jt+ott1WqHpgBmkNhghAON3QyrgAVR+1J+lbv0FpoFFtTKXtWS6Vr/LICx55uvqNM32LAZmUIj0CrPdLYtMFFg4k3S/YnSyneFwNGGblyWBJi7gzuIs1KNx4s8eeDYy82RXkaA+It3DEsTRiKR45UlpiK5UhEq8rqieOOONB7qHBg24f1UclVMYGRZQxTOMXQAUm65HkeRrvq/RYVRV26uVWNuOW7gitWQ/lZxkPfyfB0kngLirqw7oHWQcJvSFygk93B9P1LaNWNfmxs1yovTodXikhkdnEhvBVCmwWtVIWuQzWQxFfpzrzxNvPFucZSqQnPC5F9MlUVXAdgvulkcAYjzwdPU6Tutqcty6SpKAkeMb130wX8MYggISC3F0L0sXboVpVZdd103bNkWxOBGTOeA2NA2eMq8j78+dRbTpykI6qrKQC3cCwLXlRHvyPFDg6856A8IkMMhLKwUj1PZiMglnzVceaP8ATV66Jto0nQKwB5NBvYX9+RZ8aarQltCL4j6QnLRgurMRiEKspBORNDkXzf0x/XVe3XTJArExlsPygH1PNAVVjm7B+l/S/VfiPZJLEuURmCMJAqsAS6kY8/Xmx7duhN/08SUscBUqxt+0Hniw93Xk/wBRxpZKsjrJ5DuZWdGADq5awe0eLHJvz8v99GtuDKg9WMFlrJ+TkzEAeAcB54HkD60NXLr3wdizEeo/vmqgUPuAbc/UgA6UD4aVwKkWzVUwNEGzYqwKBN1rOUkakKR1ASbpIpNtIgy9NXKtIlMTVA2RZoHjj9ORdfQ28s0SbZdxAWdTnC0ixUp9RkZcgqsfB7SeaOq1telHNXTck+m/ivcc8XxX3+/jTX4Y3A2USoxWZxLI7yF1B7gAFv6AVx/q6MWJK2WqbpMwkdk9Nkw7FYMXLBfDNkKBP2Ogx1TcRtT7L8ygGOQH5uLplFAHzzrW6+PUWPIgJxdZqeAa/Kftx4/XVa6r8ZTfwzzq0Yj8gE2zEyIlYKbQGye7kBW8jnVExKLfu+vRqAJc4siVyZLCnBnuwSAAqk8/TS/dpuVkpFSRSwonKPisibOV8fQeSB9aR/BPxIN5OqyQsPVuiguH8MFqYs1hyCfAqgBr1E6zb7BVd0UaPcTlmB28hxCm0dGQk5DEFipJGPPHuNO4vhrNQzyzIxAJVWUBftQHtpyYV44HB+mqr1j4tmg3EkbCJFBHpl+WdCikvw4oZ5rRH5b99NbaE25YjMwP5v2Ouowfqf3/AO+u02g+p1J6Z9gdXPKo3HCPcgakX0x5cGz9H4/YajG1vz/x1PHtvYDn99axkSwrB25P5v2YHjz7ke49tbk9JOfTXEmhkXs/fyNRQuAa9Mv/AL1f8tE76JJACY1Rqq1bnjxfHOptlVlYOoeowgikBI/1aH6nuPGgNwXkPexq+F9h+wA1NBGFUDk0PNCz9zXF66L631M8qmDLAB7f21jCh513/Fgsy5C1xse4y+X99Y0YJB54v9KPm/2/to2I0RKx/XUsTtfGpodoxIuh3G+DyOaH6+D/AEOiIZFjVhYaRb4vnwXAr2OP20rkkVhoykF7PasR3MaYciz4+p+2hd78WGIyn02kCggYcm0ieZrHAFhQAbqyB71qp/EPxDLnIUfAY4cA5BopmHHI7csrNj8gvuF8R9ZznWdQzYRkypQVSPx0XFiQrGnRTZ4pOdRc7PRhoqKHsfV1LSrMyhHACE85PWJGC8gZKDRqy3Gqxv8AbAOsmK04xLBu4lA0TBlN5JSrV2T47SNID1OJZVaN5W26SgiF4lcoFPcUnkk9UOcWa+AMjxWh9x1hpS04UpGTimTH1aByJIHaoLm/N8WBxpNrb5LRlFYLT8M7YEzSRljLOJFdWshsgXUeT3DwScapq86i6dINwJVJCYSxoKFM7G+wBe7tUk3XGZrxpZ6LwDEgUwHg8AMHBkkH53ZgW8BRwKqxqTpu33ErSKWyzEZDiyplVGcs4uwAGBBHHK8k86Ltu2Uwlxz+CN+mZVzShsVy7i3qfnI8AcAggm/W+miR0thHEyP6kfqiORcLbKQBVPiqBDZck2fA131/4Y3EEIznhYjwkUb5KwQ4qH4NdoX6DLwebTwTNGDHGzAsGaQnub2fxxXK2PJ81lofVFJxiq2yvzhjBOsSRoY3i5YoQceAoNI2dcEEk+3zkX5OmfR+vOIyodGzGbBRYyZWUlSo8UIi3dxbV5pVPT0YKTkVRWNCzi8ZAkb/AFfOKlQODlRuiO9rLE7qjYkAWvLKvFLQxOI7R4rjitK5pEmk78B8vTzv4kaay0Em4Y80DE0ocAYijz2L55H30/2iRwNBtm9IIUPOUvrGY40Q9GPEkntAr9KrSDp3UYlcAxRrCqkExRWrElZArY/5ZBAIY2DyTV6n6pIWYNI8SsncFBQhhHk1lzRRfAzF0L+h0YZW6/sTks0l9y2QfD01IwjVQoqWNmuQMaYEMrY0FNEff7DVe3fTt4cQFMbqMWPaQWCg5AZd0ZPA8HtP1BOT/GssPqHbSoxd8mz7rxiwBX/WIiXiwOH9/MvwR8fHc22+VQzv6alExVQFRwWtr7vU8/Sv11RxQm9qrOOn9N3+3libONkYrmMzlRVQz8ikxYZBRd0eedHx7o7zcSLUsEoRlSVouMVYgMrFaosVOJHP3AOrtuNtHRBFcUD/AGFfeyK1VOh9K/gIu9jIzNEAjOcY1oGUqCaCqWIsV4Ue3Kbc4KKSabfImmnaHcXOyzN6YQrCmKqWOLE/ijvOZqvlBHmtNukRxfg4rIkjumJkIza1f1CwBrwhb/f+ngWfouzO9km/jJYzEQf83sVitt3EH8pUVY8nydQ9c+KfRlRoQrKA5DjEh2urZlGYYAlOasH6WdIlV7mByvgYfE/pbeAGeQRZmlwUEMWNkBOCW9z+hOvK54c5bjlJFcXaknx4uh7f99WCTrn8SdrBk0ywmNRGzqDI6Kq5B2qiSDyTzlqvQdOka5YxG699wMSSUzeuCKxCEe55vjQw+APJYI+noI1tiWAo0gAseADZ/c6FPREYkEsC30Pn9vHJ86D3/VnYG6X/AGCCAAOPH09h9tQ9I6s0YExlBGJAUk52bNkVXHH99LkGCwxbGbaRyRQP6Ydy7c4vdKpAf8opKsUeTR0w+Bet7oNHJJuHeF1ZysickAcAOSAGY40Ca83WlMXxGJIWBW2YKquG8FjjyPJq7ONa5XfPCtxvWC9qnjwOAftwBzxprBSZ630br/8AEyNgn4a5DO1YFlYqQCprmuP0OmkuyRzbIrH6lQT/AH14x0z4xZFSJZ3GCgVdWAPm+/1/rpjuf/ULfIcYsZFr5nxu/fyQf7adaqF2lkRTrpiF8n+mhdl8RPLGrxKqK6gjsphfsfuPGsWE+WOuqzymicbxfZcv1/7aPfqbkARqsX1Nc/0FV+96XgAeK1HHugzOlm0xvg13CwR9R5H9DofUaLaNb53RbQeo+a3ZrtLDM8e+N0PrWpX3IAJ8Ackn2A8knWpGABJPABJ/QcnWlcMvFMGH1sEH/iNYxqfdYLk142Lr2sgWfsLsn6aW9d3xwVUPD3bh1AVQVWTk+4RmPj8uiN1ljHgbT1Aj13ELRQ1Rvtar9xX20N0rpJdcZSykGUEAgq4kAbMEDsIcmrAPHjkaVyLQh3DpOkmRTzTHEZAUaDA0f6X++nKdMUowdqUjGxZ5bt8VzydAdT352sMbUCPWhjZmulRnCsx+vHv7XftqrDrU8kMzQRBwjrgLLd08gmBBschlUCyB3i6qyjkdGnoXyHzT7hY5TGVcxbqoiXoFXhCcjkkLLIbBB8E/TUHTmlUuoYTToWd3LIcCoVAoQlSB6c5b/dFnmtRdOjlj2k8U/YryRIkfBYAiM5JjRYeLAPs3gjQHT94E3jCZgkKqCeQSzSbeNCcBeBpx5+vAvwp11SYftFkaRYSYyFk3GS2rXHKySqxIFEF45VoeAV+41Nuumw7dM2IgEkckHaQDi5APaSo7WGV88XojbfG8EUasE/GCJE9lRkkbNh3FgoJyJAJABaiR5K7fdH/i/UZD6hYGVVZpBaSDJSikFEJwuuO6x7HQajy1kyTbKn1CKSCVl/h2oeFLoRQGRc+ymvr48+DoAdXcl5fSjdTlIVMoDKgUMBRWyMSAKuyrV4Oj9wsksrq1qVFsK/OmBwVUB7balJBAo34vXG8gWR2yXOmxkBAuwo5LDi2YO3B+nFadSN0reCfpOxkzUzGJU4kdvUJHpu1NZw7GUd3PsQfY6ZpvdsriTbGRGVwsIc2tFsG7o7BHpgAZcg2OPGk525uEkWFvsAt+blbGNVrEl2pauybJFASbaaL8FZS4RRHGpyHaMlXL5eALYVzdqdK7aG09unJOQDud80m9BcBzmFoEFGsgAWSBiTQs1X9NN/SC+ukZV2OdJahiloF+WiT3MR7UAOa0qnhj20skkczPJtnZ0VomCu0UmPnwyhuDj99Ptr/6rPNtJVmgHqlGUYFgCxzU8UcSKFcm78jSw05JHV631UNWacPAJ/iMUm4U4EFlUZDIIWMjqvN2qqfAHFA83pLueqNj2k0z/h2gyGLANkxBL2jEAgg2DfNab7DYRNGHMuSh6sIwuvSLAdh7yXontN1wfebZ9MO6MKw4k5YRiRbCssPrHkLweLGRN3fHJ0O+TiK/N1YF5vxWxKgqrKaaTnziK7QBVg3fnjR3SN8Wj9SzmTjS2EFHuQgKeDHjYBPzACrJFzb4J2W0hD7vbszmJmOEsgJdcbQKZAuRJ9uONdSfBKTuDt849qSEApi6MpcyMQ1mmyAsHjEfpp6VUjRk07fAjWOFAuSMQRiWsFWXJCuSNQADSsxa+Bfmq0z6K6lZY5EU2E/GxXIMFMjkgg+a9MccYgcedLd506dGo16eMiqO0jtYQIWNUmagNdcWASC2m3UumJHtTLHTeiuGamRVLg3eD2ZKNuWBtjzQA0sU+Cs3GsZHvwt1YOJBJK1wenSuxA4SOQ815BKobHmMn3J0l631R0SMNIw3A255BZ6xaR3a8QMHCgZGuCboA6D2MsX4PcI1jnWR3JUjEUkUbOxBWMBODYs2fc6L6z0KVix4CCFRnlG2WaIHk/8A5CAhYfdv66z4onyyq7naGS4lQBpvT5DCyy2oUm/Jri+fb31AkjplEtPk/hCwINefHsLF8Hz9tWmHaFuobSJz6bTGRo1QFXjj9OULYPK2ic/cEe2g22rKQ6PEyhmZh5dI8QaFLQLWzMTbfKCOdIos21CjZdPUZSq3KNZWqxAkeiT+a8bGPi+dHRbVGWMqXJl8L8pXH8M5kfdCPHkH66j6RvjHCzo8YWRochJ8+JYOVC0aQmyTx+hvTPf9WikneTcOkMjoCgZ6C2BVUBlS+3Fk6bamgJ1yJtz0VQ+WLBak5BDHJVJAoXQ+Uk14NDm6StgxBCYHFQ1tkPUru4Hy2bNNzyPGnu3M00jpEnrDkMQoZSCMvJ4YnzV2a8EaGUyRMXl283IKC4S0Q59saxNjmvp+wg8ZRpU+CpQ9SIla3IX2H3J+/ihr0Dp8oGwkidFZpSjBjIRQA4BFUTTH3I7h9NVH/wBoktykZB9/UcH9KP8A1026rIR3t2UVFA5DiiTZN3QBrxwBrTkuYiJMhfYytkyJGyJ5F2QKFCuP/PbXWy2HU5wz7fZsY8iAQkZFjg0ZBZH6Ei7970J0lX9WUqWIe6LEg0fHvxxr2D4f6nHBtoo1kelUfQ19R41ya+u9FWo2V0nK/a6NQQBRSih9tc73demmdFgGXKvIUkKW/wB28j9gda6XI/op6wqXEZ1RGQ8kH6e/jRLNftr1rPF7mWNRk91+5Fft/wDupEgvzoiPaj2s/wDD9tKFIWbsuXjTEtHKWSQgWEtGZSa/KcSv6sv1002HRvTRVzJCqFFkk0BQsnm69yb0SNuv0Gku628pn3aAyAPt0eJsSYwxLK6eMbOK8E8Bj4uyC8YqsnUfQD6LWfxfUjLMPMgidVV7AAzaJQW482PAFWKRo0jaQmlUFjwfAFnirJr2A1WJN8Y22UskqLhC38SGfHj0siQnuSyXj7BSR41V+ufHDPI0sJlSCTbKzWFrFlHgWGDh3C2GI5aufCnVGLYy+Netod2kaXxE6A5j0z6iKUYAeTmyfMPC2OL0n+DviFFkWJw0pzPqYl1yxvFaJCZAgAZEGkJu24T9Xm9ZtqfT9IvtWQAsFcTJlHFkZAClMqFSWr2Hitbn6NI8O5waNDDIHY5sZCuHpSsGUlsFZSW8iyTdVal6pUGbrrrb2KYsoilR45qYFhUivEqKx/IAUJJyBZbx5ICHedRkWZg7ktjeQILepTFOCKK5gMaAsi7vnUhT0jMzELUDiP1Q47ezFY6Fepmh+QkVldUdddZRo5FvuCfNkSRLEFr1fxK8hfHHlqsFSRT3WuBk0o/Mzbz1HIwjtlVc1VWR1LteAAr8MuxITg8VZ1YOn/EboSVeRSpCo4BNxmTJqWrdQ1D/AHQKpq1UJdw4zU4liM3BQePw3plbsKqysQKK8tiFB5Z9PkJDSPkWwc3HRN4t6eZemkfIljbse7trwC8BXuwWDrPSz/Hum22ob1GJZ1rLFir5AepWGZyPtf01L8L/AA+snqmWRgYPRzCkBs8EtjSmzbNyTZKkke+q6vW5YgQrGP0oiqqDUoDDJFIFAMvoqSVskHg2ObbD1fdepP8Aw6tNCLLUCxkIABKNd3jkL92APubMavIs/asB3XtjAJlhykWX0gy4oXdTK6xZX8qq2A8/Q+5APkvU5n9QKiyFVN0DTWhAJy57sqN+3HA516b8X9PlZ4p1FsFGaLVn0Czx2GUH5mDFfluMc3zqqfF3w9LuI7hVXG3GUvdyWkPzKoNdqim4BpAea4MX2FnwmKJeiuV9T8QXC7HvuR2CNK134BKmx54PGhtk3B9RJBkKIWrC2AGGRrI4P5+/sdQs+7iQxpNlEwaMsh/DoqS4tlDBcWJJqq9+Nc9I+JHhVYmClAaBxBZRbMKNiwGkc8/zn24074JxlUrGPTN086MqcHKBVDX6ad5BZ2IpVOCWzWTVEnwbF8N/EkcE0Qdcyh9QyKWpWZBC0oWPiUsGK4jwEFZG9Vb4f6gzMIZZWSIuC6gnE4AlSQBbKDdj73550w6P1l52ZSMUaNsmIY0a7Bjl3U35j8wNHk8o1WSikpYZ7Xvkg3xUeorNt5gOLwMnBMZPIY9oteSOLA0D0zrboJLhDom5SIPTMXZ2HeAOKOZxcCj22RyR5p03dBZ7iZizOxshAnrrI8tCzQDAIC8bCgvuLOitv8Qgu5bAhJ/VUSAAGcJ8pPCRuokrkVYNCxwg+3sy8ybs/wAdCcysSybhGOR5czLuMaAo8Ko8jHE/prnqI28kqQo7VMrSsJCTSxth2gg9xYEUK4LEcAjVTj3AZMXixkO3LmRhciupjODWAz4DgVxcrXRFnmHf97bpQ0W4jkqKgCJAMm9Jq4h7COOB+JRBsHTKnyJtayh3/wCnkG2bayvuWS5JJSVJqMRx/hkUTTiwxyq6Kg+Bq/8ATo4/4YCB8kC9pBLUCMgODY4I4sHnXms3WjJstjCXSJZUHqNlGHMzcucSKHcxoe5YkihqxfC8kxhlWKmhfPBmKmgYkSIqq45IMKIyWyW54Fo6WQ7Wyv8Aw503cPM27khIsSCIvMQ+BXLMee3uKnwafi71Inw4rg1IYpppWjWMsuILLnI6j8i/mx4N+RZ1YW+G551haaOFJAHWQWGRFLGii4m3KKoyJtQ8lHnS3qHRpEG32rwxS7eFo7L2fWW7d3HPNjIgAksa8aW48Io3KTtiLc/BaySkLNDHIqk/w54d8LS1Jk7eFs9oAsDjSjqm1WSWRD8ykdp+pNcMPp4u64OrbL13c7qKPe9Pizji3EpxoKX/AA2jFlmAESg0eLtAa1fJkh3O19aVBXpljwMlxBsBhdEG/BrTtWQPGJNq0FvG4j9PuFOMhgMSavuNg+x4OrB0vf7ncuI19KVQKYOny2Ls0PPvq19K+HpYURpVWRCciMjSZ9xLLib5PLDwNFQ/DEaGOYIcgxPabA5Iv61Q8eNLWDWU5Pg3cAlWRHW/mBpq/Q/8NI5unIGCgkOxVxmeCoAKsB7CqHj7eeNeo9S2ySxyCJ2DtS9rV5IBPJo0CTQ+/vrzv462bOzvH2x2YgxvjABvp4yFUDyV+ulkqyg3YQ3w6VQOSoJFgCgCPY3oKuBbYmjwWA8Ej6/bQnRdg27VL9VSkeC3mvcS1sGUUQt/Kf5vfU8G43aAqXmSiaUJlQ9ucPNckfUnWjHuxWy7xrfvotEGounSRyIrobUj+o+xBFqw9wRY0eq66jzVExFH01J48D9tYkZPgaG6l1yLbNGJQfxA2JAGNgEhTzdsQFAANlgPOg2WhCwnpm4WeMSRsCrfuCPII9iPcaS/FnxG+xlyOPpeiS1qeHshDfgFmsAEc4HXnI61uWimEUvpIkonC5qApkJVKYfmWSMkjJQbJxrgMOufHj7mLcwsuJkYekUCkqpssr3w3KHkEkgiglHSnStOngtE/WP4np0e4OIV45Y5RJ2lpPSeMqAKY5M1nBhwOPrqizdMUtIFiEeGA5kyRVLUTZI9SlQ8fa/5dG9N6IN9t9r6EhCQrHFuVBTlpHhSQhhIXBJjDC1AJFjydKd06ruwuBxIdVBIEhAciNyrAYhuSMi3aSe0aDLQRN6yLDYhI9QzANgDX4kRjay1FrhIvK1s91+ROnTOF3Kq8io0SgyKeQGdXUSW2TENaUvnNya51Pu0YbHb4yBkZ3skxri4YkgizZBfiifJ4B4A/Stm8hkVZACkLOyNGzKcGph6a+eVUlqsWPvrZHwa3ziRIrxB7VHy+ljGQoUHEEAZMSfb1D55Jmh6wyblBgSPrO7KqH0wgQuoPaCCABfmuSSddb/ZlEeLBFKOrj0x/wDWUX1BRkoMAhBFZEp48krpRuSZJJldY7OQU1wiswvPIg4qAAR+UD20Ld2Ua0nBJWpd+KGcMBuOb0w0MilSWVm+VSuWR7+aRgQRfF8HRHSd2rko4haQoo9TJUIPqWxvlWtBeSjgWeRyLFtN/tNntA0SYyTQxsAJlZw8q0rhOUDUoIGJXtFAmxrXWPjliZikZWMxhS2N26uyOoeNWxVlFgMwu1o8nWrIq1JOKTK4+3e3AjIU5r+ICqlkGPyADGigWyD4I8HXEXUkjhkWeCyNr2DAtiGkxtQw7ARl8vA4Nn2Ih2bJJt4payWX/MDLIBFIFoBWUqQFZsiR7P4+YiT7g+pMIZGZs5IhaKHkxYAH1CpByLIbsGgSTXI1UC2y7xdflXa9NRVBEtK2WOLKyFUUkng2yrR5sE1xRqm46cYS6cySyAxkyEMsbqWjdlQjFgzE2GuwSOL0p6VuiYDODNEqPCqkG+/H8QBjygMbDEe4I57dEx/FEczi/VzVTleI7r7iWY8sSf11rafA+np6coyt57X9RH1xGiB26kGOw+Vd5JjVD3Xyhx8H/mdL5OhN6ayIcuxnIPBAUgUP5idWLqO6gaQfhu7VQCyKW4HjEG7r20u6h1BcYgiSQ40y+orU4ZxRBAsVywI84kea0252sA6WlGErkm6xV+V8kuLAtpHJECSKc5RkG/VAIXjHyAbC/XytVemLdAwPe5VaKnBTJnJTMyKIzynbRs/cjyAX0dY0/ElUM0cX8QCpag9s8YYmmoKihV7gTKCb1F0vp4EDZFzKpe4ngLRECPOjIBauwDdysCo/2jqsIbld0c+EGxQrMaLvG0W3iLESIrM8liRaoYIGIWj47vOeuoNs38SYM09ISJeKogWjkKo1ZwNsxqr5Hvrp27XcFHKj1I7YMWelDEooruMpsHlQrEvyTiDqPcbKNymRRoI4EEg4zVmV5FDMnEpLqWsZCl8CzqL9rpleVyMZdxGjHECVg57ZEqFcFDsOSAjdqmyT4JBGdaD2O8YRRembCxZhhEvJ5dlAFFwrOIihIBxY15szb9Qgk3ZfKPCI+XQoZC4K0UN2gVSCCK5UWND9I6QZ0Kx3NI7I0K2vyCXkEo1KQgZitH5iaOlk03gdXQz6ZvWEjMXVUVAqHEFnjlaNsB8wUM4KWWIpwFC0tMPhn4wO23EUcuCxSs4BXhc2Kngex9RmLCq7gQfYC73fGANGkapHSeoHGYtXZ40IZqEkbVz3Z2ee3gT4T3PpujzK7LKBEHW0LNMqMFLMe6OwCGFLbiguR0jTayG0uD29Tf8AYgiufeiD7f359tB9agDRE/mUWv8AtAeP0OlvRPiSKRJDkqrG+J7gQpoHEtVZDIce11qbdbwSA04FqwFYkgkcEWcSb55se2p221HgXbWRbsN3hE0ccaLlkz+QCSS7kAA93k+9k6S/CG+jR5toJA8BkZX/ABgXLnAuFFBsBVcAeTdtZ1ZUgUng0R4Ni7B4PbwOKPtzfA086ZMDwwXP60Lb78Dzqrl7tpNxxaCqBOPfX2JH9wb0snWHblmkZQCPB5ckHkgDmrr7abhDndflofuSf34/bUG92UUwHqKHC8j6j9ua48e9aoiB53u4USb+I2O6RQKMkchJbAfNQbuurq/H1rjSqPqLSQ7aJlWMHcqWOTAvTF2yIII+bz9SPNVq3dS9TcsySQhFmlSONDRkMYKtMxYNS2ikYjwRySTQq3UPh/19zOEIRIbxGTcsfmGd3+554GjJJDcD2FUBZlZ+LBjDHG+OQPJ/XzqbbzKgqpASbORBN0BfcCa4+uqj09WglH8RFGVJ4RlJk+xF8f1P769A2nW45EDKhrx3LRH2o+36caigsrnwbs5NrB6e5xzytcPBUi6P+sCSL9wE+lCyv1CJGRXaNDJeORonEW1Enkgc1rieIBHJOChGJayMRjy3H0HPGvIOtDdTGGCamm9NaEgPcU9R7YjtAeInigzBUu2GWrWQjHdlnpnwj1d2aTbbl19eOR1UWgkZAA3KrwWCspLAKCGHHk6i+Ofh4b7bB4GDSxMyoyEGiWCv491dBx5FEfpR4opW3G1DuwmQKFkIdZGjCEohSvqmHqVmQwJvGw56Z1CeCPqZBeM5LJDI6ktIxObFldflAGLGr/ENHhdLyX2UxV8H9CbdQOE7GBMcgMalSRTK6vVKeczYU2f3g690k7GSNfSrOgpD5CTCu/EilOUl3xWRBFeWew6h/wDMEm1SWCHdgdkbQ90lDuGRaNCS4v3o+xGrf8Z7JDshJPHCDEysBNJcYs4kMa7zR4XmyBoNsssStnnPRJ22zJJIrdkzJIWLUVEazKuApSp4+Y33EixxpR1rrLjf/wARtPSsMPTK92NY2imgrLk5UVVhq8jje9ZhFCaCh1fAIgvjH1Bxxw6VweKAF0dQwSAieSO2WMxu4NgW6uj1VEKSQf8Ac5JuzXSklLLF1I2rRZf/AH9DMjmXaNK6jwcSqSc0SxFiiL8A8aQbbbGOgsoWV4+1ispkkWYiPFirCjZ8gHnKzxRabtpd105ZmjJxxUSKVdTjaySvGyAqw9Pgo3/2fbVegQYP6gyURlaq6YKQOQT3gOwUnhCycEeNPzd/ahk49o15yG9Mkl3249MLk5QKcvTUIEVwfPlu5TyC5IaiPIY/D00kdpJ2w7gyRzJKwC3iaYsB2kspQPXcGA5oaS7TeTYtEQY45Emb0+LsrmXf8xNIFDMPrQBGmMe2PpxMxyDZDLtyzZ3aig5x7gB+w540q1OllK7waEY60+m3WLRv4hatwY4wewCNFjjcsqwMwVASC1jIAvVMReXnQTThMY42uNlaYhAAkcmDSAhSuXEUSNiWpiL50b0/qypT2qtKcBI4yIAIckH5s8VoEc2eOaGgmWVxB6MiqXTEqeIwYyUNccqAxYkmwD9uZrU6mao6NX0/Rltu+CXpPWZpAWUGhIGEhZiVkxVFHqVR5NhOOGa7A0d02MSTxxjsjENn8qo07j12Wl+XE2Aa+QAeToKXaEqVVZvSaRmmLtGLKA2+EfFE8fmHA96Ot7Do77gSCeT0pVaKJlkZKlICVbGQPl4PGVVQ9gHOd+CTYbgAwhS3pybhm+aQ20bB4xjHLiHRQBnQ+axeJpluOrvvPTjhUeskoRHdIhA4ckAP+Fziii+R70DYGlGxiYNGHchY2ZfwzgSHvLvC/Me6uD4486m2O0yaSOGMlwySxrZ4UBLYUQGYAtQN3R+oBXcrBXYN33Xpdn1Hcpt5FitlNRpG6onzCiynBAW8AAgVxwNJOt9Xn3UUrbm5ZY8ULYItXkS+IUE0FGNVxISfbVp2QU7ZZJXXlHd+xBJ+EBEM2r5RjZ9yQBdAgon2iTAO1hxMY5Fyq4wFkaiF7QxLCyGINe1AM5WwUksgvUemyRbYxtzLKNrDTkKY8F9Vh/LiAIxZJqybHI0rXdusKGGNkANsA34bkRC3NENZBLWKxyI1aN1vEidJYzGDA00wEsh4Mjmo0BFMDQJ9z9rJMXoXDHuJAAWdSFE/nJbUhEy7ivBDRilAFAAHRWpSrkZaSk8OgNyPXphLTkYshfwGQBqFgByvcaJBfkDxqTZNkc41xKRusORRYS4CsxK13O6S9vPdlyQAaI3WzcyMqp6iSqfUIIWJm9SSaNcwSA1xs5rzQXjUXUFhl2+3jhiWP1WlEchY5mSywJJAbFnYIvH1JHA0n0Gkq5AN7B+AoTFTIkSMfUpywzUtwQMTfOYPBADDnTCXdbhDEBGyXAYoVW8ikg9QOsii7dVL2eFsk1ydQdX63EHbJpFxUIuC42uJBTFlFgNZz8kSt9gOoIWO0k3FlfxlXbvkFQ2zK7EHiNAPF0MjQ8UTVIXdk3t+oBIWamUtt0Xljkxp4jNyCoLFyo59ru+NCSy5Sxicfw4lQJKQrHONVC5FeGQAooryLJsg8u5tiU2areZdIzEqD55ecXZwcmGZL+StmgdLv8UkdJ4z2MZIliydmQuJD6jmRgclGPuaA4o+SYuOb5DJSxXBGxdFn9aRwkR9IxjFsmyDRgUbZVWJO4qvIIu7Gpd/t44IY5Wj9SOTxIAo57rXAtlxg1miPvzrhoPUaQr5WLl4kEls5CAoQQzW5JL1kC58itQy9HMbQwg+pkiyO8RMhHBYKAEtfF1RJsXYFaCnQHDwBbXfpGcpVyUk0F80eQPmHjgWPOnXwt8RGLfJOqtguRCP9CMCPqCVLc88/bQP+FiRWlET4RyBBWbFLBP3YgUASf5hyNDDaqsyotBucqa8SF4BvwwyYEexBGi2qErsfTfS+px7mJZYmtT+4Pup+hGtwbZyX9QKcnJqie0cKLNflHivJOvAOm7t0fFZCtWD3NjbDHKgw5A5B/1R9NWzp3V23G7jdJHwSWFMbfxHgGsH5rALE1zzpHKuxuna5PTetQRLE0rop9FCUscKcaFfT2Gqr/hDxbGN82QumbkBSyO/cO1gQVNhGxrwD9dC9Z6285lh9LON5UW4wWkQEnJHA5BwFiv5T9Rdln6ltZUKt6qjxRTcJ54o9oNf20yyJOLhhlO3W68pKoDWCGUDG65u2Wr48H3++tRb7dRdqKuPse7kfXtPP66F+INzHFKsSMZUdQFc9pX7MaAJHjI/8tKTunHasppePav6GjY0lO6oB62rfcD299Vv4w6RCu3l3IVRJFHkhZmC5qxZBQ5ouxFDzlXvqly/EsW96Z6M83pbiJ0aJ/z5R9wZO4U2Ni7FEjVm+GviGDf7dtqWlDlCozI9RggAZ1mW1fyPPdyby86q1QsY9ysdQ6usmyj3DyF5nkaKY3RijUhqUoiubV14BJqV696sfxHvS/Snkf09wTGhT+HZlYIzYCUA3mVZgcSKJBBPnVN658NS7OHbKMXfbOZixjYM4Vg2fki1sRkeWAjv5BpEerzxqgil5x4jXFs3ZgPS9JfJBkN3fdmfmAGlLUmsYCtruXh2wdTLFJHuWbMoCpBUFWxdLEhMagNdc0QfOt734rn3SIHkeQlmjVOxh+IAotQoDseApNVya50u2CMVnjd7jaONnf1e0MrkgOWZQ95UQtmyAKJNcSdQIjk8oQzeVAUOSoBx8tIoGRZicS9+eW3yH4yND1hfTjSRRGVUoFAdmWaR5iWsyHO1KFgSaZiKXSnZloVnjdqXCwCynmw5agTZxSiRda52chZHU9tIG8HJgXTEkgc4kLRAF2ODqCWMRt+I62B8rEEsbalJDWoIC9x/n+lnW5wZvaO9vstxtw7ruhijBVgWSRlZ5EyCYJxkAWYkCrQ8g6wo7ONuu1EjHcSn1ZAyI8zWKrOqqqtsr8UTRAbpJ9XEhvQLkhowzAxqrFscmGQal5L2tHxfMkm43MqxL6zn1y0qxBSB6iWbDUAFGPzZEjEE8c6eDi1kzUrwPdj8HbhZA8sbYwIy9jI2ScoLUG/lJY/ZEAo+COpbRBIMExjIYYh8TCgkYWqlgRK5VlBsUFckkXpDD8V70EbV3c5Ni0ciq11+VieWQ+9tiQbNjQe4Mn4biIDGNV8XgFpmHaAaxYWPNNR50jafH5K1tfKb+RPLB686TFmb8UOAFohVVZJZZFWwi8pZVgRZON8Drd74Q+lFgWEEryAKoJSK8vJskG7YeL4J41NN0aXaSiJzHOkzgFQfxWQnGN8Caj7gD818LdUNCpHgscqxZwh5jlRyCjyshUWB4IDL7L48aFrsIrvOL8h2x2KSQTMv4ipKFU5CsVKyKqu1sGtnFsoVru78a2W5SKYhkctRkjGZUhzTQoyk2QlkEAg8tZPFD7Hp7vFxGkULqGEhoqzB2Z29RawVIlZcG8ZDwXGoOp7ZiJWZRapHJzioxkJKlRnTiqrHPx71esZulQVudqZNqkyEByzh1BW7XHtrhsx3GqquebLMJC8iGMo2MhXgliCB5yBAsEEMOL8gjRGz6o0W1FMGzlXI/KeY42rEMMyptcyGPBqhrIJ5hdyRoCWbmQfhRqSGYBbLp2hQTzkKI5s7bbyQynf4CY0eaKaSFpMckXvpiCR6khwX5QPUuhfggk+REJZYUijxJdS18HhixHN/7N83/TU3TJsCyZMLtgzks2ZVVLMoouQqmhxybF0LkChWZQrOWbtZO3mw2KyZZOVoeAFNe/nSWUqL7le3cLNI6+mWSwrM+V5oVEndfa2d/fu8V5d9W+ImklhEyMACS6JxiFHZgQvaqgquQ/Knn31Bvowq/hoGFBhGcmc5cBji/P8AtUSfrS0IP49TFSRnInJMGXIUlYkA2UkZ7K/rwKvVFkEXtuh3LupPxaiYYhDBeIwT0mRcUUlR2uSfqMC3NAqthvGbbGF8o2EqqXYglWkdmaw7KYipTJiLsE3Xza1tRMUjY3x7R3m7u/pvkvBaUNFdN5yBJ45yLpon3EvrPUKSepJlIBwQUBAUm3yUIWBPze2lwWW5q0dbgJBuzCIWklkDQ1atfqMBG8Ttfzg1X0f5jfDTqnR3hhhhnLxOEaT08R6eFsSoKg5PkVBp/BXtHDaVLvktZIY48omKxBo48WLSO6B4+RGUJZVYkEkjk1Wo99FLDnBm7kJyULvGWlcR1nXiolAb3oAVp6TJNtS7BA6oxDSSiV5YyrTFi+ca5dig1+GSOARiO43yNHdRd/Q3BQZmWnD+mFAZGQlRgSyquYKgHzbEnMDSr+GEMe6UoBI0vpFslXCIx3woLKYwVIPPPbZB8HEesXgeSPawWhxdlJZlxCYkgyFnCgF2NAAWSBjpaVjqToI226RVeVAxm3Kyqn4vfgiovAo1KJQVBagVJ88g66LDMduZAEkLsEcFvliUYJEMTiHBLDv9ifPsH1/p8yiIDamMq0ah2ezkVyUEAlUvhrSxRQGtEbbpMke5l24LkGYHllpiQDZINg5V9Rx+p0G8GwshvQ+jzIZmdWVkkJjGB9OyrKe2OzQlKsKIBw9stcdM7dxLNvIFmMmd+IwJKVlIYkUmClKsnleDzY0u5dtwUujwoOR4I9mNVRo+9EVwfGtP1VzKec1UgICQeSSKx5BvJua8AXqe51wS5yWLbdM20uxsi5ZVOLqlViBHI5KjFQGPCWcsTWV8GfAsmz2m1IaCU7ko8pDRysoUlggEigqiEALkaP1rVe6d0x5dvLEajEKN6ZIyLS5CUluCVBBKkKfN2CfLfY9WWOJF3cjrlC0XYbUGalNohIIA58Gslrw2mTxRXbi+5L8Kdei29fh+u0XqEPGRkECBRmWrEhB3fN49rrXqHw/1htzF6hheKzwH4JFC/PNhuKIFVrwfcbNTPJu0iKwLuDgoZUiaJXkhAjwBYmgbAI+U88jXo/wx8RxQbYgTbg+ngrRywtcRLBMQS2PDHxkWo82dUS7EZ+73Fz6xskkWmiEn6mjV+QfY++vOupdKi9V+2OTuIB9QqQB24kChfF/73nXprspJU/MBZH2Ni/64n9tVXrOy2iy1Lt0LUO4tCMvvTSK3m+SPIOiSR4MFIsqHCigSfIv7gUPBoeRXvWj9t8SttZ1mgxQqGIS+ACAPT7vmDHnj3JPGod9vFlQTGHEs7kCOZFjBUDJjFgWUG7ALi744GlrgSLYP6H/iDXNEfT66PJTc48HoXxP8aQbzp8C8zP6mLZCSL8YAY1TUeGYiy3yi6JB0kbr5VoY3CF9uJQk0ULM0fcFWQ18xuOgQFPPd918kjKtUpR5FkVY7HabRXWOjgO9qUjI2SQaB0qXdvllmbyVkYuMUbIvZJ4u7NHm+a50uClYJd1EzlWCMCUUKSxESswJlJJsUBldMAMWJ8Ea0kKOm2FpiqyWFR2IKuSZXAFtnWI8UAAaAvRjbkOmMsglp7R5GtVC2XkZRbMXNWCCTiSCb1x0d1dhjElorFlAILkuZAkar3M1DAZE/MOKAo8mqgjZbXFHWZvRLYBMyoYD1M1DQ8MgbBBmRiASb7joHdRRRuwKKrOe8yBmCqwHKqnPcCSLo8g8cEHKjs0800fC0DFI3LSp6eTfQjgsw8AuF8eB5ZMpWAVGtpFRqpWSTIZKuOUhUENlfAVQANI0FpMY7uZJPUj24/DZhkjKVhXHErIbjDBiqUQS3nk0L1N1jf7fcPFBstv2Ia/GYgEBLJJLkYFQ1NxzXHjSibbJHeLBgSy5Mvc6+CVyFRoGAa2I7X82DrPiDY/wsyII5FZUOT5G2PNDgUhRGUEDn6862nFRVIE8dwrr25iVI5BGwf8KSVCmA5DRlQW5xKrSsooA+55C3cTKk8aMzosRxZkbvViS0rA15VmK8DkRjXXQukrLuNuMi3Kvl5XGNe5SCMvnVUHtXjWtltLkVcmeR2ckEcGkLEE5d7B1XHjzfngavpTUHdCyTk7C+oSYRZlEdKEaqwbJQbbNCGFHFK98cqGmvTJWi3LelNHHGUkEiRqWWNQiyylchXpEqO6zytV4qmbhmztuPSoU9mypJrkVXFY/oPHh9s2PqBiEaOOJ56j9PhXjzKm/mZTS4t+WPxR52pKLVRVDwbk7ZDt9z6m8R5hn6gNkLw0sgIEjAnvNOG9i1AcHRu9LCKFSyvhGHDkXUbdvgjjlWpRfnkjwBR1JnjaCS3W1YkjFjS/iU0g7GCA+aFr4PFm7LdwyHdOUKQpCWEauTiz5IkIYqcVJIBIq8BYIvUJWGDTdeQKPqZC2yBkZ5FIwjAWV0Xuyq/JF2OQK9zrIpGMdwsjy5qwqKse4Dz6dLbkgWRwb4JIEHSzI0QCqSgaRmvCs/TpgMgb/Dw4otdlRYvR0MLQzOqUU7mB4A5ziT5+00Hb5uOTfm9M8CJJp2FdH6iTvvTkYMxcDPkWWpTdMGHJBWjd1q09X3wVU4BF3Ry+QGkVvm44eyQL48aofQZfU6mjysopnlLeEGAaayAe1Rjdc1QFaum/iLz/iYsywIpYYm2ZmcscRichi3HBux7HXR6fRepJRic+rqrTi2+CHb7yBlknSGEOGjRioWnckl0y9MYlrHnEGuMTwYBJs1cjBQ3qOnpxyqssZFjgqykg0RVE80wHuUnS4sWBQdwAYC6YLVX9QK4+mhZvhbbMb9Ojd8O45+vDedeg/hur5X/fY4f/R0vD/H+zsdB2n8MqlGJeRO5JSQGrEBo/WLIB8tk0KscDkkbJHftMgdO1UJUxAHuyTKMqW7iRWVlvm+o7fDsQVVIYorZhC7Ylv5jRsnk83fJ+uoofheONSA8hDckMVIujz8v3v+n0sFH8O1fC/kePxHSXDZPtemR+hHGZGAdmtW8vJyQGbBfUClTiDXF8EAa5g+H5Iish3jGRZXMZdUOLgqkiP+JbKQQKSvP1JGotp8O4Mv/wAiZwpBxdrU+ODVErQqiaon66edXVZlK2y3K0hKt3d3lDkpBW1Uih7DSP4drJfp/I8fiGk3+r8CSDpmSzhhC80rOLJwj9PnsURsQFsEglhwa4I1INqZduqYhJY3ctiJcZFkUrI5DoMpTi3y3QYmqJ1Ns9jIiLGZRQVvlQYlryDY/lOXJo0fp4qJtruGhNlGdQFU+wClSinFQQoK/Uk39qM36LVX+DKr1ulzvX8E3xLsJWaOWNIpFJje7wLPaqRID5sqI/via5PPLdHlk3SyM5hGLMpAQk0R2rywaw3d54sVzzztJZ1LGSCJyVGJWRkUPVElBwynk+1cfroqVyVSsmtLdCTiHLC+bN0CaNeODdnU36PU/a/4GXrIfuQm2HTrXCSCUD55CA5PzdguzmxHNZcf00Ft9mUBwj3CU7LbxRX3tipNhZKojmyASKJrTv8AiiYijRNyaCmMMoWzxQGPIo/a/tem/wDErOtq+KqjWXullyJVytKVxIGQ9wV96OoPQkrw19UP1VLhoq0U3orGyIjKvm7IfiyzBTyxUXkbr28ak6/Cu9RBA0duEDxrKva1hmKxyOGKLkR7WQfHnQXVYp9ssa+m6SS2zIw5YBn9MWLsnvIBI96sc6nh6pHAU9WF0kx7sVjCk3xTC7NWTfNjyfGoK4rgdMcz9LgjgjSKbBdvI2UcrKpllq8mZW5bEcUTxx4ABWdD3EwA9NnUyTc8qWkjbM0vaxDjFiQeBjfFkaD6tP6qkKjCNznZJwLd3dRNFqUi/PafpovqvWoY+nbX0dsU3CAEv6dRDEY+oFf5ybDWAQG+b7tHPI++uOx6l/6d/Eke6gcgsJRQKyGzgsaohDUAysFL2Pdzq1yS2e0Iw+t+/wBPl18+fCO33Jgk3EcYdlBKRnIiUO/eQoN4Eqcl8NRrkAj2zpe93fpKZYtuXIu45ziQfFBo7HFe5/XTquCMk+fJ4J8MdVj/AIXfwS0C+BiHIJezERV8ghuQTxZPtpeqGONVMbiNcrfHt9RiATmBTfKFq+DxrNZoXkqv02S7a/XDOwAWN1piwAbFlHyc2S1G/IyvXG224JMqGjt2iYljTv5dyrY/MDyDVBTZPFnNZpmHTVqn8wbpcPqTg0UiRnlNUzBF5x7j7CgSxrzZ0yXbxYeunDqLTEItguO9kFYVTIAoJJVjdVres0rYYpIYdWtdvEko9OVoJZIk7SXhljYLeAJSS40emoFW/mGq3toiyukjC1jXDzQSQmRms1iCvbdG/UUe+s1mmqhYtyZNJL62cjSFnLIRyQwsMMAxFhFA5a/GIA1x1Dd+o/agVAvyqpKgjmRgPC2RZxoUAPbWazQCMOk7DJdyWN+qoRfymR2UbmgaNfIL8JRBPtqP4a3cyLM4iWWBBciOFIxelYgHy2K1+g+us1mj3BeLOpdyajaKFfSgObo5IjYq5EbuxI9Ru70qHP4ZBu9DdY3RO4meIs8bKY/UHi2F9zAYk+f1A1rWa1CqVjPrceDJGsoaMsIczF6bmM4jI4t3x9zCiQ3t4OuOudbwdTFDDtWdSjekArhclNlQPwWIquSaJsnWtZovmhmtqtBvSPhn+HA3O5aAxY2AwZ5MziFBVSMTbEFrYDA8XzoXfTn1lMcZWM0I1JByQOyHF3sOeQbPF37DnNZpHyUS9oX8PdPEE0sk6ZhID6i2i8TMgILf5asEZrHjiq8jVgVV9afEswV1TJjy3pxol/Y0OR9b1ms16Xw/+6vueV65/wBJ/Y6La2XPvrNZr6JHgvgxZiDfuPGuktiB9dZrNOkTbJZF54FDWpP7VrNZpuwq5IJJhXg3ruGTgk3X0vz/ANtZrNTZZPPBz65PHv8AU6kgBIJ+n/n76zWa10ZK2cSxZWCSD7MDzWu9i5jcV8osMAeCpFe/F/rrNZoamnHUg1LwGGpLTmtvkB+L9hGIxMMh/lBpInIX5SsbleV8MyeDWV//AGEijptjKkkjySEIGJIid0D84qz3UeYHnn9ONZrNfHyj7j6mGcEG2mkDRy8MIqVQfGIYtiQtZAljdnmzd6fwfGQEhk9H12nVoiJyGxLNXYVALL3UQQLHH31ms0haqWPBY+mx+ohT+GCSze8bCPbsYVuyGQYRY5GrHhio8k9y/DW6kCeru1/DQIgiZsBGvygNGAHAJPcbP18azWam5OOUWj7nTP/Z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5" name="ZoneTexte 4"/>
          <p:cNvSpPr txBox="1"/>
          <p:nvPr/>
        </p:nvSpPr>
        <p:spPr>
          <a:xfrm>
            <a:off x="155575" y="2082635"/>
            <a:ext cx="87496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Any </a:t>
            </a:r>
            <a:r>
              <a:rPr lang="en-US" dirty="0"/>
              <a:t>live cell with more than three live </a:t>
            </a:r>
            <a:r>
              <a:rPr lang="en-US" dirty="0" err="1"/>
              <a:t>neighbours</a:t>
            </a:r>
            <a:r>
              <a:rPr lang="en-US" dirty="0"/>
              <a:t> dies, as if by </a:t>
            </a:r>
            <a:r>
              <a:rPr lang="en-US" dirty="0" smtClean="0"/>
              <a:t>overcrowding</a:t>
            </a:r>
          </a:p>
        </p:txBody>
      </p:sp>
      <p:sp>
        <p:nvSpPr>
          <p:cNvPr id="6" name="ZoneTexte 5"/>
          <p:cNvSpPr txBox="1"/>
          <p:nvPr/>
        </p:nvSpPr>
        <p:spPr>
          <a:xfrm>
            <a:off x="1907704" y="5085184"/>
            <a:ext cx="8652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Gen n</a:t>
            </a:r>
          </a:p>
        </p:txBody>
      </p:sp>
      <p:sp>
        <p:nvSpPr>
          <p:cNvPr id="7" name="ZoneTexte 6"/>
          <p:cNvSpPr txBox="1"/>
          <p:nvPr/>
        </p:nvSpPr>
        <p:spPr>
          <a:xfrm>
            <a:off x="6516216" y="5085184"/>
            <a:ext cx="12241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Gen n+1</a:t>
            </a:r>
          </a:p>
        </p:txBody>
      </p:sp>
      <p:pic>
        <p:nvPicPr>
          <p:cNvPr id="2" name="Imag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64057" y="3508873"/>
            <a:ext cx="1352550" cy="1343025"/>
          </a:xfrm>
          <a:prstGeom prst="rect">
            <a:avLst/>
          </a:prstGeom>
        </p:spPr>
      </p:pic>
      <p:pic>
        <p:nvPicPr>
          <p:cNvPr id="3" name="Imag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87957" y="3508873"/>
            <a:ext cx="1323975" cy="1304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4661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1331640" y="980728"/>
            <a:ext cx="5940152" cy="599478"/>
          </a:xfrm>
        </p:spPr>
        <p:txBody>
          <a:bodyPr/>
          <a:lstStyle/>
          <a:p>
            <a:r>
              <a:rPr lang="en-US" sz="3600" dirty="0" smtClean="0"/>
              <a:t>The Problem</a:t>
            </a:r>
            <a:endParaRPr lang="en-US" sz="2400" dirty="0"/>
          </a:p>
        </p:txBody>
      </p:sp>
      <p:sp>
        <p:nvSpPr>
          <p:cNvPr id="8" name="AutoShape 10" descr="data:image/jpeg;base64,/9j/4AAQSkZJRgABAQAAAQABAAD/2wCEAAkGBhQSEBQUExMWFRUVFRgaGBgXFhoeFxoXGhkbFxoYHxgcHDIeGBkjGxgeHy8gIycpLSwvGB8yNjIqNiYtLCoBCQoKDgwOGg8PGi8kHyUsKSwpLCwsLCwqLCwsLCwsLCwsLCwsLCwsLCwsLCwpLCwsLCwsLCwsLCwpLCwsLCwsLP/AABEIAKgBLAMBIgACEQEDEQH/xAAcAAACAgMBAQAAAAAAAAAAAAAEBQMGAAECBwj/xAA/EAACAgEDAwIEBAQCCQUAAwABAgMREgAEIQUiMRNBBjJRYSNCcZEUUoGhFTNTYnKCscHR4fAHFiRD8WNzsv/EABoBAAMBAQEBAAAAAAAAAAAAAAECAwAEBQb/xAAuEQACAgEDAwIFAwUBAAAAAAAAAQIRIQMSMRNBUQQiBWFxgaEyUpEjM0LR8BX/2gAMAwEAAhEDEQA/APTxreuc9Znrus4aOtZrnPWZa1mo6rWVrnPWZ61mo6rWtc56zPRsO03WsrXOetepzrWaiUPrPU1HnrRbQwNklz1sHUGesz0KDZNnrRbUOes9TQoNkutYjUfqa0W1sgJeNby1EG1megwo7L6jMut3pZ1WckBEJzLDwa8FbF/odBtIKyHPJqJn1R91NKvP8S/kihI1+/t9ARWmfw91tR6gll/MAob2AHPtwP10LHofTtxpN1hzhXNZD3seL40x3O/DBSrAg3z7HVf6vugPOI5Py37Cufprn1E2ysHRB0Nb3Uf2yb9lP/XV19Q6qnw3F3LKObLJ4aqADEilNmlPF39tN95upAeMlGfP4RrEFwRkTwDh83nuGjCaiqZpR3O0NQ51mWqTvuvTKHCyOCIyQQmQyJEakn2pmBr3rXW867KudO5xikY0gY9qkjz47q/U0NP1UL02XO9Zqi7rdM7wh2LEfNwT2imfgEAcA8nx7aBhndUgYM4lcKAQHbkj2iLVxfg+NbqA6bPRDz9TqTbpftz7cf8ALVFl+I5gjuJWoyOF7fy5lV7a54H9ddp8R7iPNjKwKIgsoF7sAzHEggctX9NHqYB0y8bi1UsylQOSxHsOdJx1qBiAJFJJqvezqsr8S7icKsk5dWSRmX0wnaWEaDwLFpJz75fTS/a7weUK36qKhCE0Rk7HPwTin9Mh9tCOpRpadnoQW/GuaHvf7aru038rSKuZq+eB48/TToufrq6lZFxoUjrMv87fudZ/jEv87fvoQqv1P7f99Zx/4dWs5NzC/wDFpf52/fWv8Wl/nb9zobiuP+f/AE10v/nGsbcyf/Fpf9I37nWz1OX/AEjfudCmRR7/APDWerfgX/XWBuYT/icv+kb9zrP8Sl/nb9zodSx9q116TfXQNuZOOpy/6Rv31v8AxOX/AEjfvqD0T9dbCH/81jbmFL1J/d3/AHB/trn/ABGX/St/5/XUSbNjqZNl9ToWbczX+JS/6Q66/wATk/0jf21MuyX3BOpY9jfhf7aXcg3IGHUpf52/tqVeoyV8zX/TR8XS74ofsf8AkNF/4RiOSv6ENf8A/m9K5odKQqG6lPuf7f8ATU8Jmb83/D/pouRlS+5bAugoJr9DrJurqg7nUeDQHJ8kcKLPANaR6hVRkztNlLV+p/Sv+uu1Wvmka/YAeT9PGg//AHRAcR3MSRQC1ZNFQcyBz/T76HHV2MsiRgPHVEhEUEEmlXnnLIfN4rnybm5t8HRHS/cNttOr+7eavG7P0HP20t/EaV/TicLGSQ7ISS1A0ADybH19h4vRkvWpMBjzcYAPBCkAksFwojIY+/t7aE3PxNIIo4y6lpFAD+qis1i+OKDVXND5hXPhHKy+xIUdW6bIioDChdaIYXkRdnJb5u+fP9tAnee8qqMSOwg/JzlRsEefYef00/XdbgyZCTGRSkOJlyUue7vNAKxQBuKsMCK4Jd7D4fIUJKIzEQ5apHMgcmzUhrsoV/XSbmHakUs9eLRx4JGtKcxTcEWbsLXP09qPOlHWt9k1dpPd8pU+T/qk/wB6Or31b4eSIB4ZsXxJQZVkByeSe+rFj76qm7k3BYmTI/UqiK3HsH9OxRH/AB0N1A22HfD3T/w4lkQglXsGPnFiyj/678SDjKh71oqbftXGQDoS1xuoIIVgLvEG5Tx5NN/KdJl69HGKeOZyBeRxkOYYPTWAw7lWjZrjwBrn+Niz7KGMKqowZDiZD+UnGqjThRY4s9wGlu8jJVgAnGUrGvLwpffQFtM3I7R/lj9xf0I+9fOaSiOFjTkt+eVSeBxeCNR/760z2wsEfiSsSM7FIqJfGIv1GofY+44gi2hTtlWVWMgNNkpIVHAsMBwfUP619tOZk3VpVaR7I7YXA5aspSIBwv8A/b5131GdRLFZ7Yg0h7iP8pTILrzyv6aWbeQh8KIzkiA7jfaS1Ae9uEFasG0+At+8kn4TIGTENJIighpELcAlvkBHIHn9sZindxD09vBdZGND3H3oHn5j58+db3u7B27MpJ9aRmWjZPqOSoF/YgAf0Grts/8A0vdWWSWdc1s3ZCiwRWOIJAvyHF17al3PwPAkSh9zMqqAp/hYyrEWBWRzmr64sOLvTInZTQrRh1c90ccafOG+WMMxPupzZuDXgag6Oe2O3J4kkILggZsIl49uImP+8dXuH4K6TtCCYTZB5llkYEe9jLH+2nW2i2rRlYEiAWl/CRBiV5xscgi/H31qNZ5t1HdyxJmgdfqy5ChX8w8A1rafFe6of/HPIv8AypOR9dWmLqe4V8GCOxDUzHt7Sq8sq9oJewCLpGJ8Xo+DrsxsGACjVidMTwDYyo1zXIHIOqZ7Mk6fYrQQV7frraD6G9No9ov0r+mpl23+rx9a107jzRONqT7H99SfwJ+n76Zkr9f212P00NwBbHsP/K1Muy/8rRwiv8xGpPTUef7/APc6G4NC70K12Nmx8D99MA4Hj+2tGcD/AL624NAqdNPvWpl2QHvrZ3A+v7DWhuSTwvH1P/TQsOCRNsPf/wA+mpPSXXHqhjV1XJUcfUDzzXB/bUsZA0ljGomU8BTwffRMUxU8Af11rbRlrth54oHx/wBdMdp0cH8xqz7f1vStlYxb4AN51JwjNkRSk8ceBf2+n11Xd98VIAxRizGscqAJ4sgfMfNfqPvzY/i7py/w2I/nQtzziDzx7nmxfuBqjHpLKmDyI8lIzY2AqsoJcXf5QBX0x45NRlPODu0tGNXIi3HUZJGBDHLAjj2UAkg15N354HnU0m4yA9OIytHTSIfAUBD2kn2Yn7gHz41xt9iwZC1sFyzVrLKoJS29zYxb2r9edA9b6qPT9NFDEf5jAWKPgAkVwoy/ViB7abS097t8Lkrq6iglGKy+Bu9vI8e277QqWN4pxkTTElT2lQB51Jt+ott1WqHpgBmkNhghAON3QyrgAVR+1J+lbv0FpoFFtTKXtWS6Vr/LICx55uvqNM32LAZmUIj0CrPdLYtMFFg4k3S/YnSyneFwNGGblyWBJi7gzuIs1KNx4s8eeDYy82RXkaA+It3DEsTRiKR45UlpiK5UhEq8rqieOOONB7qHBg24f1UclVMYGRZQxTOMXQAUm65HkeRrvq/RYVRV26uVWNuOW7gitWQ/lZxkPfyfB0kngLirqw7oHWQcJvSFygk93B9P1LaNWNfmxs1yovTodXikhkdnEhvBVCmwWtVIWuQzWQxFfpzrzxNvPFucZSqQnPC5F9MlUVXAdgvulkcAYjzwdPU6Tutqcty6SpKAkeMb130wX8MYggISC3F0L0sXboVpVZdd103bNkWxOBGTOeA2NA2eMq8j78+dRbTpykI6qrKQC3cCwLXlRHvyPFDg6856A8IkMMhLKwUj1PZiMglnzVceaP8ATV66Jto0nQKwB5NBvYX9+RZ8aarQltCL4j6QnLRgurMRiEKspBORNDkXzf0x/XVe3XTJArExlsPygH1PNAVVjm7B+l/S/VfiPZJLEuURmCMJAqsAS6kY8/Xmx7duhN/08SUscBUqxt+0Hniw93Xk/wBRxpZKsjrJ5DuZWdGADq5awe0eLHJvz8v99GtuDKg9WMFlrJ+TkzEAeAcB54HkD60NXLr3wdizEeo/vmqgUPuAbc/UgA6UD4aVwKkWzVUwNEGzYqwKBN1rOUkakKR1ASbpIpNtIgy9NXKtIlMTVA2RZoHjj9ORdfQ28s0SbZdxAWdTnC0ixUp9RkZcgqsfB7SeaOq1telHNXTck+m/ivcc8XxX3+/jTX4Y3A2USoxWZxLI7yF1B7gAFv6AVx/q6MWJK2WqbpMwkdk9Nkw7FYMXLBfDNkKBP2Ogx1TcRtT7L8ygGOQH5uLplFAHzzrW6+PUWPIgJxdZqeAa/Kftx4/XVa6r8ZTfwzzq0Yj8gE2zEyIlYKbQGye7kBW8jnVExKLfu+vRqAJc4siVyZLCnBnuwSAAqk8/TS/dpuVkpFSRSwonKPisibOV8fQeSB9aR/BPxIN5OqyQsPVuiguH8MFqYs1hyCfAqgBr1E6zb7BVd0UaPcTlmB28hxCm0dGQk5DEFipJGPPHuNO4vhrNQzyzIxAJVWUBftQHtpyYV44HB+mqr1j4tmg3EkbCJFBHpl+WdCikvw4oZ5rRH5b99NbaE25YjMwP5v2Ouowfqf3/AO+u02g+p1J6Z9gdXPKo3HCPcgakX0x5cGz9H4/YajG1vz/x1PHtvYDn99axkSwrB25P5v2YHjz7ke49tbk9JOfTXEmhkXs/fyNRQuAa9Mv/AL1f8tE76JJACY1Rqq1bnjxfHOptlVlYOoeowgikBI/1aH6nuPGgNwXkPexq+F9h+wA1NBGFUDk0PNCz9zXF66L631M8qmDLAB7f21jCh513/Fgsy5C1xse4y+X99Y0YJB54v9KPm/2/to2I0RKx/XUsTtfGpodoxIuh3G+DyOaH6+D/AEOiIZFjVhYaRb4vnwXAr2OP20rkkVhoykF7PasR3MaYciz4+p+2hd78WGIyn02kCggYcm0ieZrHAFhQAbqyB71qp/EPxDLnIUfAY4cA5BopmHHI7csrNj8gvuF8R9ZznWdQzYRkypQVSPx0XFiQrGnRTZ4pOdRc7PRhoqKHsfV1LSrMyhHACE85PWJGC8gZKDRqy3Gqxv8AbAOsmK04xLBu4lA0TBlN5JSrV2T47SNID1OJZVaN5W26SgiF4lcoFPcUnkk9UOcWa+AMjxWh9x1hpS04UpGTimTH1aByJIHaoLm/N8WBxpNrb5LRlFYLT8M7YEzSRljLOJFdWshsgXUeT3DwScapq86i6dINwJVJCYSxoKFM7G+wBe7tUk3XGZrxpZ6LwDEgUwHg8AMHBkkH53ZgW8BRwKqxqTpu33ErSKWyzEZDiyplVGcs4uwAGBBHHK8k86Ltu2Uwlxz+CN+mZVzShsVy7i3qfnI8AcAggm/W+miR0thHEyP6kfqiORcLbKQBVPiqBDZck2fA131/4Y3EEIznhYjwkUb5KwQ4qH4NdoX6DLwebTwTNGDHGzAsGaQnub2fxxXK2PJ81lofVFJxiq2yvzhjBOsSRoY3i5YoQceAoNI2dcEEk+3zkX5OmfR+vOIyodGzGbBRYyZWUlSo8UIi3dxbV5pVPT0YKTkVRWNCzi8ZAkb/AFfOKlQODlRuiO9rLE7qjYkAWvLKvFLQxOI7R4rjitK5pEmk78B8vTzv4kaay0Em4Y80DE0ocAYijz2L55H30/2iRwNBtm9IIUPOUvrGY40Q9GPEkntAr9KrSDp3UYlcAxRrCqkExRWrElZArY/5ZBAIY2DyTV6n6pIWYNI8SsncFBQhhHk1lzRRfAzF0L+h0YZW6/sTks0l9y2QfD01IwjVQoqWNmuQMaYEMrY0FNEff7DVe3fTt4cQFMbqMWPaQWCg5AZd0ZPA8HtP1BOT/GssPqHbSoxd8mz7rxiwBX/WIiXiwOH9/MvwR8fHc22+VQzv6alExVQFRwWtr7vU8/Sv11RxQm9qrOOn9N3+3libONkYrmMzlRVQz8ikxYZBRd0eedHx7o7zcSLUsEoRlSVouMVYgMrFaosVOJHP3AOrtuNtHRBFcUD/AGFfeyK1VOh9K/gIu9jIzNEAjOcY1oGUqCaCqWIsV4Ue3Kbc4KKSabfImmnaHcXOyzN6YQrCmKqWOLE/ijvOZqvlBHmtNukRxfg4rIkjumJkIza1f1CwBrwhb/f+ngWfouzO9km/jJYzEQf83sVitt3EH8pUVY8nydQ9c+KfRlRoQrKA5DjEh2urZlGYYAlOasH6WdIlV7mByvgYfE/pbeAGeQRZmlwUEMWNkBOCW9z+hOvK54c5bjlJFcXaknx4uh7f99WCTrn8SdrBk0ywmNRGzqDI6Kq5B2qiSDyTzlqvQdOka5YxG699wMSSUzeuCKxCEe55vjQw+APJYI+noI1tiWAo0gAseADZ/c6FPREYkEsC30Pn9vHJ86D3/VnYG6X/AGCCAAOPH09h9tQ9I6s0YExlBGJAUk52bNkVXHH99LkGCwxbGbaRyRQP6Ydy7c4vdKpAf8opKsUeTR0w+Bet7oNHJJuHeF1ZysickAcAOSAGY40Ca83WlMXxGJIWBW2YKquG8FjjyPJq7ONa5XfPCtxvWC9qnjwOAftwBzxprBSZ630br/8AEyNgn4a5DO1YFlYqQCprmuP0OmkuyRzbIrH6lQT/AH14x0z4xZFSJZ3GCgVdWAPm+/1/rpjuf/ULfIcYsZFr5nxu/fyQf7adaqF2lkRTrpiF8n+mhdl8RPLGrxKqK6gjsphfsfuPGsWE+WOuqzymicbxfZcv1/7aPfqbkARqsX1Nc/0FV+96XgAeK1HHugzOlm0xvg13CwR9R5H9DofUaLaNb53RbQeo+a3ZrtLDM8e+N0PrWpX3IAJ8Ackn2A8knWpGABJPABJ/QcnWlcMvFMGH1sEH/iNYxqfdYLk142Lr2sgWfsLsn6aW9d3xwVUPD3bh1AVQVWTk+4RmPj8uiN1ljHgbT1Aj13ELRQ1Rvtar9xX20N0rpJdcZSykGUEAgq4kAbMEDsIcmrAPHjkaVyLQh3DpOkmRTzTHEZAUaDA0f6X++nKdMUowdqUjGxZ5bt8VzydAdT352sMbUCPWhjZmulRnCsx+vHv7XftqrDrU8kMzQRBwjrgLLd08gmBBschlUCyB3i6qyjkdGnoXyHzT7hY5TGVcxbqoiXoFXhCcjkkLLIbBB8E/TUHTmlUuoYTToWd3LIcCoVAoQlSB6c5b/dFnmtRdOjlj2k8U/YryRIkfBYAiM5JjRYeLAPs3gjQHT94E3jCZgkKqCeQSzSbeNCcBeBpx5+vAvwp11SYftFkaRYSYyFk3GS2rXHKySqxIFEF45VoeAV+41Nuumw7dM2IgEkckHaQDi5APaSo7WGV88XojbfG8EUasE/GCJE9lRkkbNh3FgoJyJAJABaiR5K7fdH/i/UZD6hYGVVZpBaSDJSikFEJwuuO6x7HQajy1kyTbKn1CKSCVl/h2oeFLoRQGRc+ymvr48+DoAdXcl5fSjdTlIVMoDKgUMBRWyMSAKuyrV4Oj9wsksrq1qVFsK/OmBwVUB7balJBAo34vXG8gWR2yXOmxkBAuwo5LDi2YO3B+nFadSN0reCfpOxkzUzGJU4kdvUJHpu1NZw7GUd3PsQfY6ZpvdsriTbGRGVwsIc2tFsG7o7BHpgAZcg2OPGk525uEkWFvsAt+blbGNVrEl2pauybJFASbaaL8FZS4RRHGpyHaMlXL5eALYVzdqdK7aG09unJOQDud80m9BcBzmFoEFGsgAWSBiTQs1X9NN/SC+ukZV2OdJahiloF+WiT3MR7UAOa0qnhj20skkczPJtnZ0VomCu0UmPnwyhuDj99Ptr/6rPNtJVmgHqlGUYFgCxzU8UcSKFcm78jSw05JHV631UNWacPAJ/iMUm4U4EFlUZDIIWMjqvN2qqfAHFA83pLueqNj2k0z/h2gyGLANkxBL2jEAgg2DfNab7DYRNGHMuSh6sIwuvSLAdh7yXontN1wfebZ9MO6MKw4k5YRiRbCssPrHkLweLGRN3fHJ0O+TiK/N1YF5vxWxKgqrKaaTnziK7QBVg3fnjR3SN8Wj9SzmTjS2EFHuQgKeDHjYBPzACrJFzb4J2W0hD7vbszmJmOEsgJdcbQKZAuRJ9uONdSfBKTuDt849qSEApi6MpcyMQ1mmyAsHjEfpp6VUjRk07fAjWOFAuSMQRiWsFWXJCuSNQADSsxa+Bfmq0z6K6lZY5EU2E/GxXIMFMjkgg+a9MccYgcedLd506dGo16eMiqO0jtYQIWNUmagNdcWASC2m3UumJHtTLHTeiuGamRVLg3eD2ZKNuWBtjzQA0sU+Cs3GsZHvwt1YOJBJK1wenSuxA4SOQ815BKobHmMn3J0l631R0SMNIw3A255BZ6xaR3a8QMHCgZGuCboA6D2MsX4PcI1jnWR3JUjEUkUbOxBWMBODYs2fc6L6z0KVix4CCFRnlG2WaIHk/8A5CAhYfdv66z4onyyq7naGS4lQBpvT5DCyy2oUm/Jri+fb31AkjplEtPk/hCwINefHsLF8Hz9tWmHaFuobSJz6bTGRo1QFXjj9OULYPK2ic/cEe2g22rKQ6PEyhmZh5dI8QaFLQLWzMTbfKCOdIos21CjZdPUZSq3KNZWqxAkeiT+a8bGPi+dHRbVGWMqXJl8L8pXH8M5kfdCPHkH66j6RvjHCzo8YWRochJ8+JYOVC0aQmyTx+hvTPf9WikneTcOkMjoCgZ6C2BVUBlS+3Fk6bamgJ1yJtz0VQ+WLBak5BDHJVJAoXQ+Uk14NDm6StgxBCYHFQ1tkPUru4Hy2bNNzyPGnu3M00jpEnrDkMQoZSCMvJ4YnzV2a8EaGUyRMXl283IKC4S0Q59saxNjmvp+wg8ZRpU+CpQ9SIla3IX2H3J+/ihr0Dp8oGwkidFZpSjBjIRQA4BFUTTH3I7h9NVH/wBoktykZB9/UcH9KP8A1026rIR3t2UVFA5DiiTZN3QBrxwBrTkuYiJMhfYytkyJGyJ5F2QKFCuP/PbXWy2HU5wz7fZsY8iAQkZFjg0ZBZH6Ei7970J0lX9WUqWIe6LEg0fHvxxr2D4f6nHBtoo1kelUfQ19R41ya+u9FWo2V0nK/a6NQQBRSih9tc73demmdFgGXKvIUkKW/wB28j9gda6XI/op6wqXEZ1RGQ8kH6e/jRLNftr1rPF7mWNRk91+5Fft/wDupEgvzoiPaj2s/wDD9tKFIWbsuXjTEtHKWSQgWEtGZSa/KcSv6sv1002HRvTRVzJCqFFkk0BQsnm69yb0SNuv0Gku628pn3aAyAPt0eJsSYwxLK6eMbOK8E8Bj4uyC8YqsnUfQD6LWfxfUjLMPMgidVV7AAzaJQW482PAFWKRo0jaQmlUFjwfAFnirJr2A1WJN8Y22UskqLhC38SGfHj0siQnuSyXj7BSR41V+ufHDPI0sJlSCTbKzWFrFlHgWGDh3C2GI5aufCnVGLYy+Netod2kaXxE6A5j0z6iKUYAeTmyfMPC2OL0n+DviFFkWJw0pzPqYl1yxvFaJCZAgAZEGkJu24T9Xm9ZtqfT9IvtWQAsFcTJlHFkZAClMqFSWr2Hitbn6NI8O5waNDDIHY5sZCuHpSsGUlsFZSW8iyTdVal6pUGbrrrb2KYsoilR45qYFhUivEqKx/IAUJJyBZbx5ICHedRkWZg7ktjeQILepTFOCKK5gMaAsi7vnUhT0jMzELUDiP1Q47ezFY6Fepmh+QkVldUdddZRo5FvuCfNkSRLEFr1fxK8hfHHlqsFSRT3WuBk0o/Mzbz1HIwjtlVc1VWR1LteAAr8MuxITg8VZ1YOn/EboSVeRSpCo4BNxmTJqWrdQ1D/AHQKpq1UJdw4zU4liM3BQePw3plbsKqysQKK8tiFB5Z9PkJDSPkWwc3HRN4t6eZemkfIljbse7trwC8BXuwWDrPSz/Hum22ob1GJZ1rLFir5AepWGZyPtf01L8L/AA+snqmWRgYPRzCkBs8EtjSmzbNyTZKkke+q6vW5YgQrGP0oiqqDUoDDJFIFAMvoqSVskHg2ObbD1fdepP8Aw6tNCLLUCxkIABKNd3jkL92APubMavIs/asB3XtjAJlhykWX0gy4oXdTK6xZX8qq2A8/Q+5APkvU5n9QKiyFVN0DTWhAJy57sqN+3HA516b8X9PlZ4p1FsFGaLVn0Czx2GUH5mDFfluMc3zqqfF3w9LuI7hVXG3GUvdyWkPzKoNdqim4BpAea4MX2FnwmKJeiuV9T8QXC7HvuR2CNK134BKmx54PGhtk3B9RJBkKIWrC2AGGRrI4P5+/sdQs+7iQxpNlEwaMsh/DoqS4tlDBcWJJqq9+Nc9I+JHhVYmClAaBxBZRbMKNiwGkc8/zn24074JxlUrGPTN086MqcHKBVDX6ad5BZ2IpVOCWzWTVEnwbF8N/EkcE0Qdcyh9QyKWpWZBC0oWPiUsGK4jwEFZG9Vb4f6gzMIZZWSIuC6gnE4AlSQBbKDdj73550w6P1l52ZSMUaNsmIY0a7Bjl3U35j8wNHk8o1WSikpYZ7Xvkg3xUeorNt5gOLwMnBMZPIY9oteSOLA0D0zrboJLhDom5SIPTMXZ2HeAOKOZxcCj22RyR5p03dBZ7iZizOxshAnrrI8tCzQDAIC8bCgvuLOitv8Qgu5bAhJ/VUSAAGcJ8pPCRuokrkVYNCxwg+3sy8ybs/wAdCcysSybhGOR5czLuMaAo8Ko8jHE/prnqI28kqQo7VMrSsJCTSxth2gg9xYEUK4LEcAjVTj3AZMXixkO3LmRhciupjODWAz4DgVxcrXRFnmHf97bpQ0W4jkqKgCJAMm9Jq4h7COOB+JRBsHTKnyJtayh3/wCnkG2bayvuWS5JJSVJqMRx/hkUTTiwxyq6Kg+Bq/8ATo4/4YCB8kC9pBLUCMgODY4I4sHnXms3WjJstjCXSJZUHqNlGHMzcucSKHcxoe5YkihqxfC8kxhlWKmhfPBmKmgYkSIqq45IMKIyWyW54Fo6WQ7Wyv8Aw503cPM27khIsSCIvMQ+BXLMee3uKnwafi71Inw4rg1IYpppWjWMsuILLnI6j8i/mx4N+RZ1YW+G551haaOFJAHWQWGRFLGii4m3KKoyJtQ8lHnS3qHRpEG32rwxS7eFo7L2fWW7d3HPNjIgAksa8aW48Io3KTtiLc/BaySkLNDHIqk/w54d8LS1Jk7eFs9oAsDjSjqm1WSWRD8ykdp+pNcMPp4u64OrbL13c7qKPe9Pizji3EpxoKX/AA2jFlmAESg0eLtAa1fJkh3O19aVBXpljwMlxBsBhdEG/BrTtWQPGJNq0FvG4j9PuFOMhgMSavuNg+x4OrB0vf7ncuI19KVQKYOny2Ls0PPvq19K+HpYURpVWRCciMjSZ9xLLib5PLDwNFQ/DEaGOYIcgxPabA5Iv61Q8eNLWDWU5Pg3cAlWRHW/mBpq/Q/8NI5unIGCgkOxVxmeCoAKsB7CqHj7eeNeo9S2ySxyCJ2DtS9rV5IBPJo0CTQ+/vrzv462bOzvH2x2YgxvjABvp4yFUDyV+ulkqyg3YQ3w6VQOSoJFgCgCPY3oKuBbYmjwWA8Ej6/bQnRdg27VL9VSkeC3mvcS1sGUUQt/Kf5vfU8G43aAqXmSiaUJlQ9ucPNckfUnWjHuxWy7xrfvotEGounSRyIrobUj+o+xBFqw9wRY0eq66jzVExFH01J48D9tYkZPgaG6l1yLbNGJQfxA2JAGNgEhTzdsQFAANlgPOg2WhCwnpm4WeMSRsCrfuCPII9iPcaS/FnxG+xlyOPpeiS1qeHshDfgFmsAEc4HXnI61uWimEUvpIkonC5qApkJVKYfmWSMkjJQbJxrgMOufHj7mLcwsuJkYekUCkqpssr3w3KHkEkgiglHSnStOngtE/WP4np0e4OIV45Y5RJ2lpPSeMqAKY5M1nBhwOPrqizdMUtIFiEeGA5kyRVLUTZI9SlQ8fa/5dG9N6IN9t9r6EhCQrHFuVBTlpHhSQhhIXBJjDC1AJFjydKd06ruwuBxIdVBIEhAciNyrAYhuSMi3aSe0aDLQRN6yLDYhI9QzANgDX4kRjay1FrhIvK1s91+ROnTOF3Kq8io0SgyKeQGdXUSW2TENaUvnNya51Pu0YbHb4yBkZ3skxri4YkgizZBfiifJ4B4A/Stm8hkVZACkLOyNGzKcGph6a+eVUlqsWPvrZHwa3ziRIrxB7VHy+ljGQoUHEEAZMSfb1D55Jmh6wyblBgSPrO7KqH0wgQuoPaCCABfmuSSddb/ZlEeLBFKOrj0x/wDWUX1BRkoMAhBFZEp48krpRuSZJJldY7OQU1wiswvPIg4qAAR+UD20Ld2Ua0nBJWpd+KGcMBuOb0w0MilSWVm+VSuWR7+aRgQRfF8HRHSd2rko4haQoo9TJUIPqWxvlWtBeSjgWeRyLFtN/tNntA0SYyTQxsAJlZw8q0rhOUDUoIGJXtFAmxrXWPjliZikZWMxhS2N26uyOoeNWxVlFgMwu1o8nWrIq1JOKTK4+3e3AjIU5r+ICqlkGPyADGigWyD4I8HXEXUkjhkWeCyNr2DAtiGkxtQw7ARl8vA4Nn2Ih2bJJt4payWX/MDLIBFIFoBWUqQFZsiR7P4+YiT7g+pMIZGZs5IhaKHkxYAH1CpByLIbsGgSTXI1UC2y7xdflXa9NRVBEtK2WOLKyFUUkng2yrR5sE1xRqm46cYS6cySyAxkyEMsbqWjdlQjFgzE2GuwSOL0p6VuiYDODNEqPCqkG+/H8QBjygMbDEe4I57dEx/FEczi/VzVTleI7r7iWY8sSf11rafA+np6coyt57X9RH1xGiB26kGOw+Vd5JjVD3Xyhx8H/mdL5OhN6ayIcuxnIPBAUgUP5idWLqO6gaQfhu7VQCyKW4HjEG7r20u6h1BcYgiSQ40y+orU4ZxRBAsVywI84kea0252sA6WlGErkm6xV+V8kuLAtpHJECSKc5RkG/VAIXjHyAbC/XytVemLdAwPe5VaKnBTJnJTMyKIzynbRs/cjyAX0dY0/ElUM0cX8QCpag9s8YYmmoKihV7gTKCb1F0vp4EDZFzKpe4ngLRECPOjIBauwDdysCo/2jqsIbld0c+EGxQrMaLvG0W3iLESIrM8liRaoYIGIWj47vOeuoNs38SYM09ISJeKogWjkKo1ZwNsxqr5Hvrp27XcFHKj1I7YMWelDEooruMpsHlQrEvyTiDqPcbKNymRRoI4EEg4zVmV5FDMnEpLqWsZCl8CzqL9rpleVyMZdxGjHECVg57ZEqFcFDsOSAjdqmyT4JBGdaD2O8YRRembCxZhhEvJ5dlAFFwrOIihIBxY15szb9Qgk3ZfKPCI+XQoZC4K0UN2gVSCCK5UWND9I6QZ0Kx3NI7I0K2vyCXkEo1KQgZitH5iaOlk03gdXQz6ZvWEjMXVUVAqHEFnjlaNsB8wUM4KWWIpwFC0tMPhn4wO23EUcuCxSs4BXhc2Kngex9RmLCq7gQfYC73fGANGkapHSeoHGYtXZ40IZqEkbVz3Z2ee3gT4T3PpujzK7LKBEHW0LNMqMFLMe6OwCGFLbiguR0jTayG0uD29Tf8AYgiufeiD7f359tB9agDRE/mUWv8AtAeP0OlvRPiSKRJDkqrG+J7gQpoHEtVZDIce11qbdbwSA04FqwFYkgkcEWcSb55se2p221HgXbWRbsN3hE0ccaLlkz+QCSS7kAA93k+9k6S/CG+jR5toJA8BkZX/ABgXLnAuFFBsBVcAeTdtZ1ZUgUng0R4Ni7B4PbwOKPtzfA086ZMDwwXP60Lb78Dzqrl7tpNxxaCqBOPfX2JH9wb0snWHblmkZQCPB5ckHkgDmrr7abhDndflofuSf34/bUG92UUwHqKHC8j6j9ua48e9aoiB53u4USb+I2O6RQKMkchJbAfNQbuurq/H1rjSqPqLSQ7aJlWMHcqWOTAvTF2yIII+bz9SPNVq3dS9TcsySQhFmlSONDRkMYKtMxYNS2ikYjwRySTQq3UPh/19zOEIRIbxGTcsfmGd3+554GjJJDcD2FUBZlZ+LBjDHG+OQPJ/XzqbbzKgqpASbORBN0BfcCa4+uqj09WglH8RFGVJ4RlJk+xF8f1P769A2nW45EDKhrx3LRH2o+36caigsrnwbs5NrB6e5xzytcPBUi6P+sCSL9wE+lCyv1CJGRXaNDJeORonEW1Enkgc1rieIBHJOChGJayMRjy3H0HPGvIOtDdTGGCamm9NaEgPcU9R7YjtAeInigzBUu2GWrWQjHdlnpnwj1d2aTbbl19eOR1UWgkZAA3KrwWCspLAKCGHHk6i+Ofh4b7bB4GDSxMyoyEGiWCv491dBx5FEfpR4opW3G1DuwmQKFkIdZGjCEohSvqmHqVmQwJvGw56Z1CeCPqZBeM5LJDI6ktIxObFldflAGLGr/ENHhdLyX2UxV8H9CbdQOE7GBMcgMalSRTK6vVKeczYU2f3g690k7GSNfSrOgpD5CTCu/EilOUl3xWRBFeWew6h/wDMEm1SWCHdgdkbQ90lDuGRaNCS4v3o+xGrf8Z7JDshJPHCDEysBNJcYs4kMa7zR4XmyBoNsssStnnPRJ22zJJIrdkzJIWLUVEazKuApSp4+Y33EixxpR1rrLjf/wARtPSsMPTK92NY2imgrLk5UVVhq8jje9ZhFCaCh1fAIgvjH1Bxxw6VweKAF0dQwSAieSO2WMxu4NgW6uj1VEKSQf8Ac5JuzXSklLLF1I2rRZf/AH9DMjmXaNK6jwcSqSc0SxFiiL8A8aQbbbGOgsoWV4+1ispkkWYiPFirCjZ8gHnKzxRabtpd105ZmjJxxUSKVdTjaySvGyAqw9Pgo3/2fbVegQYP6gyURlaq6YKQOQT3gOwUnhCycEeNPzd/ahk49o15yG9Mkl3249MLk5QKcvTUIEVwfPlu5TyC5IaiPIY/D00kdpJ2w7gyRzJKwC3iaYsB2kspQPXcGA5oaS7TeTYtEQY45Emb0+LsrmXf8xNIFDMPrQBGmMe2PpxMxyDZDLtyzZ3aig5x7gB+w540q1OllK7waEY60+m3WLRv4hatwY4wewCNFjjcsqwMwVASC1jIAvVMReXnQTThMY42uNlaYhAAkcmDSAhSuXEUSNiWpiL50b0/qypT2qtKcBI4yIAIckH5s8VoEc2eOaGgmWVxB6MiqXTEqeIwYyUNccqAxYkmwD9uZrU6mao6NX0/Rltu+CXpPWZpAWUGhIGEhZiVkxVFHqVR5NhOOGa7A0d02MSTxxjsjENn8qo07j12Wl+XE2Aa+QAeToKXaEqVVZvSaRmmLtGLKA2+EfFE8fmHA96Ot7Do77gSCeT0pVaKJlkZKlICVbGQPl4PGVVQ9gHOd+CTYbgAwhS3pybhm+aQ20bB4xjHLiHRQBnQ+axeJpluOrvvPTjhUeskoRHdIhA4ckAP+Fziii+R70DYGlGxiYNGHchY2ZfwzgSHvLvC/Me6uD4486m2O0yaSOGMlwySxrZ4UBLYUQGYAtQN3R+oBXcrBXYN33Xpdn1Hcpt5FitlNRpG6onzCiynBAW8AAgVxwNJOt9Xn3UUrbm5ZY8ULYItXkS+IUE0FGNVxISfbVp2QU7ZZJXXlHd+xBJ+EBEM2r5RjZ9yQBdAgon2iTAO1hxMY5Fyq4wFkaiF7QxLCyGINe1AM5WwUksgvUemyRbYxtzLKNrDTkKY8F9Vh/LiAIxZJqybHI0rXdusKGGNkANsA34bkRC3NENZBLWKxyI1aN1vEidJYzGDA00wEsh4Mjmo0BFMDQJ9z9rJMXoXDHuJAAWdSFE/nJbUhEy7ivBDRilAFAAHRWpSrkZaSk8OgNyPXphLTkYshfwGQBqFgByvcaJBfkDxqTZNkc41xKRusORRYS4CsxK13O6S9vPdlyQAaI3WzcyMqp6iSqfUIIWJm9SSaNcwSA1xs5rzQXjUXUFhl2+3jhiWP1WlEchY5mSywJJAbFnYIvH1JHA0n0Gkq5AN7B+AoTFTIkSMfUpywzUtwQMTfOYPBADDnTCXdbhDEBGyXAYoVW8ikg9QOsii7dVL2eFsk1ydQdX63EHbJpFxUIuC42uJBTFlFgNZz8kSt9gOoIWO0k3FlfxlXbvkFQ2zK7EHiNAPF0MjQ8UTVIXdk3t+oBIWamUtt0Xljkxp4jNyCoLFyo59ru+NCSy5Sxicfw4lQJKQrHONVC5FeGQAooryLJsg8u5tiU2areZdIzEqD55ecXZwcmGZL+StmgdLv8UkdJ4z2MZIliydmQuJD6jmRgclGPuaA4o+SYuOb5DJSxXBGxdFn9aRwkR9IxjFsmyDRgUbZVWJO4qvIIu7Gpd/t44IY5Wj9SOTxIAo57rXAtlxg1miPvzrhoPUaQr5WLl4kEls5CAoQQzW5JL1kC58itQy9HMbQwg+pkiyO8RMhHBYKAEtfF1RJsXYFaCnQHDwBbXfpGcpVyUk0F80eQPmHjgWPOnXwt8RGLfJOqtguRCP9CMCPqCVLc88/bQP+FiRWlET4RyBBWbFLBP3YgUASf5hyNDDaqsyotBucqa8SF4BvwwyYEexBGi2qErsfTfS+px7mJZYmtT+4Pup+hGtwbZyX9QKcnJqie0cKLNflHivJOvAOm7t0fFZCtWD3NjbDHKgw5A5B/1R9NWzp3V23G7jdJHwSWFMbfxHgGsH5rALE1zzpHKuxuna5PTetQRLE0rop9FCUscKcaFfT2Gqr/hDxbGN82QumbkBSyO/cO1gQVNhGxrwD9dC9Z6285lh9LON5UW4wWkQEnJHA5BwFiv5T9Rdln6ltZUKt6qjxRTcJ54o9oNf20yyJOLhhlO3W68pKoDWCGUDG65u2Wr48H3++tRb7dRdqKuPse7kfXtPP66F+INzHFKsSMZUdQFc9pX7MaAJHjI/8tKTunHasppePav6GjY0lO6oB62rfcD299Vv4w6RCu3l3IVRJFHkhZmC5qxZBQ5ouxFDzlXvqly/EsW96Z6M83pbiJ0aJ/z5R9wZO4U2Ni7FEjVm+GviGDf7dtqWlDlCozI9RggAZ1mW1fyPPdyby86q1QsY9ysdQ6usmyj3DyF5nkaKY3RijUhqUoiubV14BJqV696sfxHvS/Snkf09wTGhT+HZlYIzYCUA3mVZgcSKJBBPnVN658NS7OHbKMXfbOZixjYM4Vg2fki1sRkeWAjv5BpEerzxqgil5x4jXFs3ZgPS9JfJBkN3fdmfmAGlLUmsYCtruXh2wdTLFJHuWbMoCpBUFWxdLEhMagNdc0QfOt734rn3SIHkeQlmjVOxh+IAotQoDseApNVya50u2CMVnjd7jaONnf1e0MrkgOWZQ95UQtmyAKJNcSdQIjk8oQzeVAUOSoBx8tIoGRZicS9+eW3yH4yND1hfTjSRRGVUoFAdmWaR5iWsyHO1KFgSaZiKXSnZloVnjdqXCwCynmw5agTZxSiRda52chZHU9tIG8HJgXTEkgc4kLRAF2ODqCWMRt+I62B8rEEsbalJDWoIC9x/n+lnW5wZvaO9vstxtw7ruhijBVgWSRlZ5EyCYJxkAWYkCrQ8g6wo7ONuu1EjHcSn1ZAyI8zWKrOqqqtsr8UTRAbpJ9XEhvQLkhowzAxqrFscmGQal5L2tHxfMkm43MqxL6zn1y0qxBSB6iWbDUAFGPzZEjEE8c6eDi1kzUrwPdj8HbhZA8sbYwIy9jI2ScoLUG/lJY/ZEAo+COpbRBIMExjIYYh8TCgkYWqlgRK5VlBsUFckkXpDD8V70EbV3c5Ni0ciq11+VieWQ+9tiQbNjQe4Mn4biIDGNV8XgFpmHaAaxYWPNNR50jafH5K1tfKb+RPLB686TFmb8UOAFohVVZJZZFWwi8pZVgRZON8Drd74Q+lFgWEEryAKoJSK8vJskG7YeL4J41NN0aXaSiJzHOkzgFQfxWQnGN8Caj7gD818LdUNCpHgscqxZwh5jlRyCjyshUWB4IDL7L48aFrsIrvOL8h2x2KSQTMv4ipKFU5CsVKyKqu1sGtnFsoVru78a2W5SKYhkctRkjGZUhzTQoyk2QlkEAg8tZPFD7Hp7vFxGkULqGEhoqzB2Z29RawVIlZcG8ZDwXGoOp7ZiJWZRapHJzioxkJKlRnTiqrHPx71esZulQVudqZNqkyEByzh1BW7XHtrhsx3GqquebLMJC8iGMo2MhXgliCB5yBAsEEMOL8gjRGz6o0W1FMGzlXI/KeY42rEMMyptcyGPBqhrIJ5hdyRoCWbmQfhRqSGYBbLp2hQTzkKI5s7bbyQynf4CY0eaKaSFpMckXvpiCR6khwX5QPUuhfggk+REJZYUijxJdS18HhixHN/7N83/TU3TJsCyZMLtgzks2ZVVLMoouQqmhxybF0LkChWZQrOWbtZO3mw2KyZZOVoeAFNe/nSWUqL7le3cLNI6+mWSwrM+V5oVEndfa2d/fu8V5d9W+ImklhEyMACS6JxiFHZgQvaqgquQ/Knn31Bvowq/hoGFBhGcmc5cBji/P8AtUSfrS0IP49TFSRnInJMGXIUlYkA2UkZ7K/rwKvVFkEXtuh3LupPxaiYYhDBeIwT0mRcUUlR2uSfqMC3NAqthvGbbGF8o2EqqXYglWkdmaw7KYipTJiLsE3Xza1tRMUjY3x7R3m7u/pvkvBaUNFdN5yBJ45yLpon3EvrPUKSepJlIBwQUBAUm3yUIWBPze2lwWW5q0dbgJBuzCIWklkDQ1atfqMBG8Ttfzg1X0f5jfDTqnR3hhhhnLxOEaT08R6eFsSoKg5PkVBp/BXtHDaVLvktZIY48omKxBo48WLSO6B4+RGUJZVYkEkjk1Wo99FLDnBm7kJyULvGWlcR1nXiolAb3oAVp6TJNtS7BA6oxDSSiV5YyrTFi+ca5dig1+GSOARiO43yNHdRd/Q3BQZmWnD+mFAZGQlRgSyquYKgHzbEnMDSr+GEMe6UoBI0vpFslXCIx3woLKYwVIPPPbZB8HEesXgeSPawWhxdlJZlxCYkgyFnCgF2NAAWSBjpaVjqToI226RVeVAxm3Kyqn4vfgiovAo1KJQVBagVJ88g66LDMduZAEkLsEcFvliUYJEMTiHBLDv9ifPsH1/p8yiIDamMq0ah2ezkVyUEAlUvhrSxRQGtEbbpMke5l24LkGYHllpiQDZINg5V9Rx+p0G8GwshvQ+jzIZmdWVkkJjGB9OyrKe2OzQlKsKIBw9stcdM7dxLNvIFmMmd+IwJKVlIYkUmClKsnleDzY0u5dtwUujwoOR4I9mNVRo+9EVwfGtP1VzKec1UgICQeSSKx5BvJua8AXqe51wS5yWLbdM20uxsi5ZVOLqlViBHI5KjFQGPCWcsTWV8GfAsmz2m1IaCU7ko8pDRysoUlggEigqiEALkaP1rVe6d0x5dvLEajEKN6ZIyLS5CUluCVBBKkKfN2CfLfY9WWOJF3cjrlC0XYbUGalNohIIA58Gslrw2mTxRXbi+5L8Kdei29fh+u0XqEPGRkECBRmWrEhB3fN49rrXqHw/1htzF6hheKzwH4JFC/PNhuKIFVrwfcbNTPJu0iKwLuDgoZUiaJXkhAjwBYmgbAI+U88jXo/wx8RxQbYgTbg+ngrRywtcRLBMQS2PDHxkWo82dUS7EZ+73Fz6xskkWmiEn6mjV+QfY++vOupdKi9V+2OTuIB9QqQB24kChfF/73nXprspJU/MBZH2Ni/64n9tVXrOy2iy1Lt0LUO4tCMvvTSK3m+SPIOiSR4MFIsqHCigSfIv7gUPBoeRXvWj9t8SttZ1mgxQqGIS+ACAPT7vmDHnj3JPGod9vFlQTGHEs7kCOZFjBUDJjFgWUG7ALi744GlrgSLYP6H/iDXNEfT66PJTc48HoXxP8aQbzp8C8zP6mLZCSL8YAY1TUeGYiy3yi6JB0kbr5VoY3CF9uJQk0ULM0fcFWQ18xuOgQFPPd918kjKtUpR5FkVY7HabRXWOjgO9qUjI2SQaB0qXdvllmbyVkYuMUbIvZJ4u7NHm+a50uClYJd1EzlWCMCUUKSxESswJlJJsUBldMAMWJ8Ea0kKOm2FpiqyWFR2IKuSZXAFtnWI8UAAaAvRjbkOmMsglp7R5GtVC2XkZRbMXNWCCTiSCb1x0d1dhjElorFlAILkuZAkar3M1DAZE/MOKAo8mqgjZbXFHWZvRLYBMyoYD1M1DQ8MgbBBmRiASb7joHdRRRuwKKrOe8yBmCqwHKqnPcCSLo8g8cEHKjs0800fC0DFI3LSp6eTfQjgsw8AuF8eB5ZMpWAVGtpFRqpWSTIZKuOUhUENlfAVQANI0FpMY7uZJPUj24/DZhkjKVhXHErIbjDBiqUQS3nk0L1N1jf7fcPFBstv2Ia/GYgEBLJJLkYFQ1NxzXHjSibbJHeLBgSy5Mvc6+CVyFRoGAa2I7X82DrPiDY/wsyII5FZUOT5G2PNDgUhRGUEDn6862nFRVIE8dwrr25iVI5BGwf8KSVCmA5DRlQW5xKrSsooA+55C3cTKk8aMzosRxZkbvViS0rA15VmK8DkRjXXQukrLuNuMi3Kvl5XGNe5SCMvnVUHtXjWtltLkVcmeR2ckEcGkLEE5d7B1XHjzfngavpTUHdCyTk7C+oSYRZlEdKEaqwbJQbbNCGFHFK98cqGmvTJWi3LelNHHGUkEiRqWWNQiyylchXpEqO6zytV4qmbhmztuPSoU9mypJrkVXFY/oPHh9s2PqBiEaOOJ56j9PhXjzKm/mZTS4t+WPxR52pKLVRVDwbk7ZDt9z6m8R5hn6gNkLw0sgIEjAnvNOG9i1AcHRu9LCKFSyvhGHDkXUbdvgjjlWpRfnkjwBR1JnjaCS3W1YkjFjS/iU0g7GCA+aFr4PFm7LdwyHdOUKQpCWEauTiz5IkIYqcVJIBIq8BYIvUJWGDTdeQKPqZC2yBkZ5FIwjAWV0Xuyq/JF2OQK9zrIpGMdwsjy5qwqKse4Dz6dLbkgWRwb4JIEHSzI0QCqSgaRmvCs/TpgMgb/Dw4otdlRYvR0MLQzOqUU7mB4A5ziT5+00Hb5uOTfm9M8CJJp2FdH6iTvvTkYMxcDPkWWpTdMGHJBWjd1q09X3wVU4BF3Ry+QGkVvm44eyQL48aofQZfU6mjysopnlLeEGAaayAe1Rjdc1QFaum/iLz/iYsywIpYYm2ZmcscRichi3HBux7HXR6fRepJRic+rqrTi2+CHb7yBlknSGEOGjRioWnckl0y9MYlrHnEGuMTwYBJs1cjBQ3qOnpxyqssZFjgqykg0RVE80wHuUnS4sWBQdwAYC6YLVX9QK4+mhZvhbbMb9Ojd8O45+vDedeg/hur5X/fY4f/R0vD/H+zsdB2n8MqlGJeRO5JSQGrEBo/WLIB8tk0KscDkkbJHftMgdO1UJUxAHuyTKMqW7iRWVlvm+o7fDsQVVIYorZhC7Ylv5jRsnk83fJ+uoofheONSA8hDckMVIujz8v3v+n0sFH8O1fC/kePxHSXDZPtemR+hHGZGAdmtW8vJyQGbBfUClTiDXF8EAa5g+H5Iish3jGRZXMZdUOLgqkiP+JbKQQKSvP1JGotp8O4Mv/wAiZwpBxdrU+ODVErQqiaon66edXVZlK2y3K0hKt3d3lDkpBW1Uih7DSP4drJfp/I8fiGk3+r8CSDpmSzhhC80rOLJwj9PnsURsQFsEglhwa4I1INqZduqYhJY3ctiJcZFkUrI5DoMpTi3y3QYmqJ1Ns9jIiLGZRQVvlQYlryDY/lOXJo0fp4qJtruGhNlGdQFU+wClSinFQQoK/Uk39qM36LVX+DKr1ulzvX8E3xLsJWaOWNIpFJje7wLPaqRID5sqI/via5PPLdHlk3SyM5hGLMpAQk0R2rywaw3d54sVzzztJZ1LGSCJyVGJWRkUPVElBwynk+1cfroqVyVSsmtLdCTiHLC+bN0CaNeODdnU36PU/a/4GXrIfuQm2HTrXCSCUD55CA5PzdguzmxHNZcf00Ft9mUBwj3CU7LbxRX3tipNhZKojmyASKJrTv8AiiYijRNyaCmMMoWzxQGPIo/a/tem/wDErOtq+KqjWXullyJVytKVxIGQ9wV96OoPQkrw19UP1VLhoq0U3orGyIjKvm7IfiyzBTyxUXkbr28ak6/Cu9RBA0duEDxrKva1hmKxyOGKLkR7WQfHnQXVYp9ssa+m6SS2zIw5YBn9MWLsnvIBI96sc6nh6pHAU9WF0kx7sVjCk3xTC7NWTfNjyfGoK4rgdMcz9LgjgjSKbBdvI2UcrKpllq8mZW5bEcUTxx4ABWdD3EwA9NnUyTc8qWkjbM0vaxDjFiQeBjfFkaD6tP6qkKjCNznZJwLd3dRNFqUi/PafpovqvWoY+nbX0dsU3CAEv6dRDEY+oFf5ybDWAQG+b7tHPI++uOx6l/6d/Eke6gcgsJRQKyGzgsaohDUAysFL2Pdzq1yS2e0Iw+t+/wBPl18+fCO33Jgk3EcYdlBKRnIiUO/eQoN4Eqcl8NRrkAj2zpe93fpKZYtuXIu45ziQfFBo7HFe5/XTquCMk+fJ4J8MdVj/AIXfwS0C+BiHIJezERV8ghuQTxZPtpeqGONVMbiNcrfHt9RiATmBTfKFq+DxrNZoXkqv02S7a/XDOwAWN1piwAbFlHyc2S1G/IyvXG224JMqGjt2iYljTv5dyrY/MDyDVBTZPFnNZpmHTVqn8wbpcPqTg0UiRnlNUzBF5x7j7CgSxrzZ0yXbxYeunDqLTEItguO9kFYVTIAoJJVjdVres0rYYpIYdWtdvEko9OVoJZIk7SXhljYLeAJSS40emoFW/mGq3toiyukjC1jXDzQSQmRms1iCvbdG/UUe+s1mmqhYtyZNJL62cjSFnLIRyQwsMMAxFhFA5a/GIA1x1Dd+o/agVAvyqpKgjmRgPC2RZxoUAPbWazQCMOk7DJdyWN+qoRfymR2UbmgaNfIL8JRBPtqP4a3cyLM4iWWBBciOFIxelYgHy2K1+g+us1mj3BeLOpdyajaKFfSgObo5IjYq5EbuxI9Ru70qHP4ZBu9DdY3RO4meIs8bKY/UHi2F9zAYk+f1A1rWa1CqVjPrceDJGsoaMsIczF6bmM4jI4t3x9zCiQ3t4OuOudbwdTFDDtWdSjekArhclNlQPwWIquSaJsnWtZovmhmtqtBvSPhn+HA3O5aAxY2AwZ5MziFBVSMTbEFrYDA8XzoXfTn1lMcZWM0I1JByQOyHF3sOeQbPF37DnNZpHyUS9oX8PdPEE0sk6ZhID6i2i8TMgILf5asEZrHjiq8jVgVV9afEswV1TJjy3pxol/Y0OR9b1ms16Xw/+6vueV65/wBJ/Y6La2XPvrNZr6JHgvgxZiDfuPGuktiB9dZrNOkTbJZF54FDWpP7VrNZpuwq5IJJhXg3ruGTgk3X0vz/ANtZrNTZZPPBz65PHv8AU6kgBIJ+n/n76zWa10ZK2cSxZWCSD7MDzWu9i5jcV8osMAeCpFe/F/rrNZoamnHUg1LwGGpLTmtvkB+L9hGIxMMh/lBpInIX5SsbleV8MyeDWV//AGEijptjKkkjySEIGJIid0D84qz3UeYHnn9ONZrNfHyj7j6mGcEG2mkDRy8MIqVQfGIYtiQtZAljdnmzd6fwfGQEhk9H12nVoiJyGxLNXYVALL3UQQLHH31ms0haqWPBY+mx+ohT+GCSze8bCPbsYVuyGQYRY5GrHhio8k9y/DW6kCeru1/DQIgiZsBGvygNGAHAJPcbP18azWam5OOUWj7nTP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9" name="AutoShape 12" descr="data:image/jpeg;base64,/9j/4AAQSkZJRgABAQAAAQABAAD/2wCEAAkGBhQSEBQUExMWFRUVFRgaGBgXFhoeFxoXGhkbFxoYHxgcHDIeGBkjGxgeHy8gIycpLSwvGB8yNjIqNiYtLCoBCQoKDgwOGg8PGi8kHyUsKSwpLCwsLCwqLCwsLCwsLCwsLCwsLCwsLCwsLCwpLCwsLCwsLCwsLCwpLCwsLCwsLP/AABEIAKgBLAMBIgACEQEDEQH/xAAcAAACAgMBAQAAAAAAAAAAAAAEBQMGAAECBwj/xAA/EAACAgEDAwIEBAQCCQUAAwABAgMREgAEIQUiMRNBBjJRYSNCcZEUUoGhFTNTYnKCscHR4fAHFiRD8WNzsv/EABoBAAMBAQEBAAAAAAAAAAAAAAECAwAEBQb/xAAuEQACAgEDAwIFAwUBAAAAAAAAAQIRIQMSMRNBUQQiBWFxgaEyUpEjM0LR8BX/2gAMAwEAAhEDEQA/APTxreuc9Znrus4aOtZrnPWZa1mo6rWVrnPWZ61mo6rWtc56zPRsO03WsrXOetepzrWaiUPrPU1HnrRbQwNklz1sHUGesz0KDZNnrRbUOes9TQoNkutYjUfqa0W1sgJeNby1EG1megwo7L6jMut3pZ1WckBEJzLDwa8FbF/odBtIKyHPJqJn1R91NKvP8S/kihI1+/t9ARWmfw91tR6gll/MAob2AHPtwP10LHofTtxpN1hzhXNZD3seL40x3O/DBSrAg3z7HVf6vugPOI5Py37Cufprn1E2ysHRB0Nb3Uf2yb9lP/XV19Q6qnw3F3LKObLJ4aqADEilNmlPF39tN95upAeMlGfP4RrEFwRkTwDh83nuGjCaiqZpR3O0NQ51mWqTvuvTKHCyOCIyQQmQyJEakn2pmBr3rXW867KudO5xikY0gY9qkjz47q/U0NP1UL02XO9Zqi7rdM7wh2LEfNwT2imfgEAcA8nx7aBhndUgYM4lcKAQHbkj2iLVxfg+NbqA6bPRDz9TqTbpftz7cf8ALVFl+I5gjuJWoyOF7fy5lV7a54H9ddp8R7iPNjKwKIgsoF7sAzHEggctX9NHqYB0y8bi1UsylQOSxHsOdJx1qBiAJFJJqvezqsr8S7icKsk5dWSRmX0wnaWEaDwLFpJz75fTS/a7weUK36qKhCE0Rk7HPwTin9Mh9tCOpRpadnoQW/GuaHvf7aru038rSKuZq+eB48/TToufrq6lZFxoUjrMv87fudZ/jEv87fvoQqv1P7f99Zx/4dWs5NzC/wDFpf52/fWv8Wl/nb9zobiuP+f/AE10v/nGsbcyf/Fpf9I37nWz1OX/AEjfudCmRR7/APDWerfgX/XWBuYT/icv+kb9zrP8Sl/nb9zodSx9q116TfXQNuZOOpy/6Rv31v8AxOX/AEjfvqD0T9dbCH/81jbmFL1J/d3/AHB/trn/ABGX/St/5/XUSbNjqZNl9ToWbczX+JS/6Q66/wATk/0jf21MuyX3BOpY9jfhf7aXcg3IGHUpf52/tqVeoyV8zX/TR8XS74ofsf8AkNF/4RiOSv6ENf8A/m9K5odKQqG6lPuf7f8ATU8Jmb83/D/pouRlS+5bAugoJr9DrJurqg7nUeDQHJ8kcKLPANaR6hVRkztNlLV+p/Sv+uu1Wvmka/YAeT9PGg//AHRAcR3MSRQC1ZNFQcyBz/T76HHV2MsiRgPHVEhEUEEmlXnnLIfN4rnybm5t8HRHS/cNttOr+7eavG7P0HP20t/EaV/TicLGSQ7ISS1A0ADybH19h4vRkvWpMBjzcYAPBCkAksFwojIY+/t7aE3PxNIIo4y6lpFAD+qis1i+OKDVXND5hXPhHKy+xIUdW6bIioDChdaIYXkRdnJb5u+fP9tAnee8qqMSOwg/JzlRsEefYef00/XdbgyZCTGRSkOJlyUue7vNAKxQBuKsMCK4Jd7D4fIUJKIzEQ5apHMgcmzUhrsoV/XSbmHakUs9eLRx4JGtKcxTcEWbsLXP09qPOlHWt9k1dpPd8pU+T/qk/wB6Or31b4eSIB4ZsXxJQZVkByeSe+rFj76qm7k3BYmTI/UqiK3HsH9OxRH/AB0N1A22HfD3T/w4lkQglXsGPnFiyj/678SDjKh71oqbftXGQDoS1xuoIIVgLvEG5Tx5NN/KdJl69HGKeOZyBeRxkOYYPTWAw7lWjZrjwBrn+Niz7KGMKqowZDiZD+UnGqjThRY4s9wGlu8jJVgAnGUrGvLwpffQFtM3I7R/lj9xf0I+9fOaSiOFjTkt+eVSeBxeCNR/760z2wsEfiSsSM7FIqJfGIv1GofY+44gi2hTtlWVWMgNNkpIVHAsMBwfUP619tOZk3VpVaR7I7YXA5aspSIBwv8A/b5131GdRLFZ7Yg0h7iP8pTILrzyv6aWbeQh8KIzkiA7jfaS1Ae9uEFasG0+At+8kn4TIGTENJIighpELcAlvkBHIHn9sZindxD09vBdZGND3H3oHn5j58+db3u7B27MpJ9aRmWjZPqOSoF/YgAf0Grts/8A0vdWWSWdc1s3ZCiwRWOIJAvyHF17al3PwPAkSh9zMqqAp/hYyrEWBWRzmr64sOLvTInZTQrRh1c90ccafOG+WMMxPupzZuDXgag6Oe2O3J4kkILggZsIl49uImP+8dXuH4K6TtCCYTZB5llkYEe9jLH+2nW2i2rRlYEiAWl/CRBiV5xscgi/H31qNZ5t1HdyxJmgdfqy5ChX8w8A1rafFe6of/HPIv8AypOR9dWmLqe4V8GCOxDUzHt7Sq8sq9oJewCLpGJ8Xo+DrsxsGACjVidMTwDYyo1zXIHIOqZ7Mk6fYrQQV7frraD6G9No9ov0r+mpl23+rx9a107jzRONqT7H99SfwJ+n76Zkr9f212P00NwBbHsP/K1Muy/8rRwiv8xGpPTUef7/APc6G4NC70K12Nmx8D99MA4Hj+2tGcD/AL624NAqdNPvWpl2QHvrZ3A+v7DWhuSTwvH1P/TQsOCRNsPf/wA+mpPSXXHqhjV1XJUcfUDzzXB/bUsZA0ljGomU8BTwffRMUxU8Af11rbRlrth54oHx/wBdMdp0cH8xqz7f1vStlYxb4AN51JwjNkRSk8ceBf2+n11Xd98VIAxRizGscqAJ4sgfMfNfqPvzY/i7py/w2I/nQtzziDzx7nmxfuBqjHpLKmDyI8lIzY2AqsoJcXf5QBX0x45NRlPODu0tGNXIi3HUZJGBDHLAjj2UAkg15N354HnU0m4yA9OIytHTSIfAUBD2kn2Yn7gHz41xt9iwZC1sFyzVrLKoJS29zYxb2r9edA9b6qPT9NFDEf5jAWKPgAkVwoy/ViB7abS097t8Lkrq6iglGKy+Bu9vI8e277QqWN4pxkTTElT2lQB51Jt+ott1WqHpgBmkNhghAON3QyrgAVR+1J+lbv0FpoFFtTKXtWS6Vr/LICx55uvqNM32LAZmUIj0CrPdLYtMFFg4k3S/YnSyneFwNGGblyWBJi7gzuIs1KNx4s8eeDYy82RXkaA+It3DEsTRiKR45UlpiK5UhEq8rqieOOONB7qHBg24f1UclVMYGRZQxTOMXQAUm65HkeRrvq/RYVRV26uVWNuOW7gitWQ/lZxkPfyfB0kngLirqw7oHWQcJvSFygk93B9P1LaNWNfmxs1yovTodXikhkdnEhvBVCmwWtVIWuQzWQxFfpzrzxNvPFucZSqQnPC5F9MlUVXAdgvulkcAYjzwdPU6Tutqcty6SpKAkeMb130wX8MYggISC3F0L0sXboVpVZdd103bNkWxOBGTOeA2NA2eMq8j78+dRbTpykI6qrKQC3cCwLXlRHvyPFDg6856A8IkMMhLKwUj1PZiMglnzVceaP8ATV66Jto0nQKwB5NBvYX9+RZ8aarQltCL4j6QnLRgurMRiEKspBORNDkXzf0x/XVe3XTJArExlsPygH1PNAVVjm7B+l/S/VfiPZJLEuURmCMJAqsAS6kY8/Xmx7duhN/08SUscBUqxt+0Hniw93Xk/wBRxpZKsjrJ5DuZWdGADq5awe0eLHJvz8v99GtuDKg9WMFlrJ+TkzEAeAcB54HkD60NXLr3wdizEeo/vmqgUPuAbc/UgA6UD4aVwKkWzVUwNEGzYqwKBN1rOUkakKR1ASbpIpNtIgy9NXKtIlMTVA2RZoHjj9ORdfQ28s0SbZdxAWdTnC0ixUp9RkZcgqsfB7SeaOq1telHNXTck+m/ivcc8XxX3+/jTX4Y3A2USoxWZxLI7yF1B7gAFv6AVx/q6MWJK2WqbpMwkdk9Nkw7FYMXLBfDNkKBP2Ogx1TcRtT7L8ygGOQH5uLplFAHzzrW6+PUWPIgJxdZqeAa/Kftx4/XVa6r8ZTfwzzq0Yj8gE2zEyIlYKbQGye7kBW8jnVExKLfu+vRqAJc4siVyZLCnBnuwSAAqk8/TS/dpuVkpFSRSwonKPisibOV8fQeSB9aR/BPxIN5OqyQsPVuiguH8MFqYs1hyCfAqgBr1E6zb7BVd0UaPcTlmB28hxCm0dGQk5DEFipJGPPHuNO4vhrNQzyzIxAJVWUBftQHtpyYV44HB+mqr1j4tmg3EkbCJFBHpl+WdCikvw4oZ5rRH5b99NbaE25YjMwP5v2Ouowfqf3/AO+u02g+p1J6Z9gdXPKo3HCPcgakX0x5cGz9H4/YajG1vz/x1PHtvYDn99axkSwrB25P5v2YHjz7ke49tbk9JOfTXEmhkXs/fyNRQuAa9Mv/AL1f8tE76JJACY1Rqq1bnjxfHOptlVlYOoeowgikBI/1aH6nuPGgNwXkPexq+F9h+wA1NBGFUDk0PNCz9zXF66L631M8qmDLAB7f21jCh513/Fgsy5C1xse4y+X99Y0YJB54v9KPm/2/to2I0RKx/XUsTtfGpodoxIuh3G+DyOaH6+D/AEOiIZFjVhYaRb4vnwXAr2OP20rkkVhoykF7PasR3MaYciz4+p+2hd78WGIyn02kCggYcm0ieZrHAFhQAbqyB71qp/EPxDLnIUfAY4cA5BopmHHI7csrNj8gvuF8R9ZznWdQzYRkypQVSPx0XFiQrGnRTZ4pOdRc7PRhoqKHsfV1LSrMyhHACE85PWJGC8gZKDRqy3Gqxv8AbAOsmK04xLBu4lA0TBlN5JSrV2T47SNID1OJZVaN5W26SgiF4lcoFPcUnkk9UOcWa+AMjxWh9x1hpS04UpGTimTH1aByJIHaoLm/N8WBxpNrb5LRlFYLT8M7YEzSRljLOJFdWshsgXUeT3DwScapq86i6dINwJVJCYSxoKFM7G+wBe7tUk3XGZrxpZ6LwDEgUwHg8AMHBkkH53ZgW8BRwKqxqTpu33ErSKWyzEZDiyplVGcs4uwAGBBHHK8k86Ltu2Uwlxz+CN+mZVzShsVy7i3qfnI8AcAggm/W+miR0thHEyP6kfqiORcLbKQBVPiqBDZck2fA131/4Y3EEIznhYjwkUb5KwQ4qH4NdoX6DLwebTwTNGDHGzAsGaQnub2fxxXK2PJ81lofVFJxiq2yvzhjBOsSRoY3i5YoQceAoNI2dcEEk+3zkX5OmfR+vOIyodGzGbBRYyZWUlSo8UIi3dxbV5pVPT0YKTkVRWNCzi8ZAkb/AFfOKlQODlRuiO9rLE7qjYkAWvLKvFLQxOI7R4rjitK5pEmk78B8vTzv4kaay0Em4Y80DE0ocAYijz2L55H30/2iRwNBtm9IIUPOUvrGY40Q9GPEkntAr9KrSDp3UYlcAxRrCqkExRWrElZArY/5ZBAIY2DyTV6n6pIWYNI8SsncFBQhhHk1lzRRfAzF0L+h0YZW6/sTks0l9y2QfD01IwjVQoqWNmuQMaYEMrY0FNEff7DVe3fTt4cQFMbqMWPaQWCg5AZd0ZPA8HtP1BOT/GssPqHbSoxd8mz7rxiwBX/WIiXiwOH9/MvwR8fHc22+VQzv6alExVQFRwWtr7vU8/Sv11RxQm9qrOOn9N3+3libONkYrmMzlRVQz8ikxYZBRd0eedHx7o7zcSLUsEoRlSVouMVYgMrFaosVOJHP3AOrtuNtHRBFcUD/AGFfeyK1VOh9K/gIu9jIzNEAjOcY1oGUqCaCqWIsV4Ue3Kbc4KKSabfImmnaHcXOyzN6YQrCmKqWOLE/ijvOZqvlBHmtNukRxfg4rIkjumJkIza1f1CwBrwhb/f+ngWfouzO9km/jJYzEQf83sVitt3EH8pUVY8nydQ9c+KfRlRoQrKA5DjEh2urZlGYYAlOasH6WdIlV7mByvgYfE/pbeAGeQRZmlwUEMWNkBOCW9z+hOvK54c5bjlJFcXaknx4uh7f99WCTrn8SdrBk0ywmNRGzqDI6Kq5B2qiSDyTzlqvQdOka5YxG699wMSSUzeuCKxCEe55vjQw+APJYI+noI1tiWAo0gAseADZ/c6FPREYkEsC30Pn9vHJ86D3/VnYG6X/AGCCAAOPH09h9tQ9I6s0YExlBGJAUk52bNkVXHH99LkGCwxbGbaRyRQP6Ydy7c4vdKpAf8opKsUeTR0w+Bet7oNHJJuHeF1ZysickAcAOSAGY40Ca83WlMXxGJIWBW2YKquG8FjjyPJq7ONa5XfPCtxvWC9qnjwOAftwBzxprBSZ630br/8AEyNgn4a5DO1YFlYqQCprmuP0OmkuyRzbIrH6lQT/AH14x0z4xZFSJZ3GCgVdWAPm+/1/rpjuf/ULfIcYsZFr5nxu/fyQf7adaqF2lkRTrpiF8n+mhdl8RPLGrxKqK6gjsphfsfuPGsWE+WOuqzymicbxfZcv1/7aPfqbkARqsX1Nc/0FV+96XgAeK1HHugzOlm0xvg13CwR9R5H9DofUaLaNb53RbQeo+a3ZrtLDM8e+N0PrWpX3IAJ8Ackn2A8knWpGABJPABJ/QcnWlcMvFMGH1sEH/iNYxqfdYLk142Lr2sgWfsLsn6aW9d3xwVUPD3bh1AVQVWTk+4RmPj8uiN1ljHgbT1Aj13ELRQ1Rvtar9xX20N0rpJdcZSykGUEAgq4kAbMEDsIcmrAPHjkaVyLQh3DpOkmRTzTHEZAUaDA0f6X++nKdMUowdqUjGxZ5bt8VzydAdT352sMbUCPWhjZmulRnCsx+vHv7XftqrDrU8kMzQRBwjrgLLd08gmBBschlUCyB3i6qyjkdGnoXyHzT7hY5TGVcxbqoiXoFXhCcjkkLLIbBB8E/TUHTmlUuoYTToWd3LIcCoVAoQlSB6c5b/dFnmtRdOjlj2k8U/YryRIkfBYAiM5JjRYeLAPs3gjQHT94E3jCZgkKqCeQSzSbeNCcBeBpx5+vAvwp11SYftFkaRYSYyFk3GS2rXHKySqxIFEF45VoeAV+41Nuumw7dM2IgEkckHaQDi5APaSo7WGV88XojbfG8EUasE/GCJE9lRkkbNh3FgoJyJAJABaiR5K7fdH/i/UZD6hYGVVZpBaSDJSikFEJwuuO6x7HQajy1kyTbKn1CKSCVl/h2oeFLoRQGRc+ymvr48+DoAdXcl5fSjdTlIVMoDKgUMBRWyMSAKuyrV4Oj9wsksrq1qVFsK/OmBwVUB7balJBAo34vXG8gWR2yXOmxkBAuwo5LDi2YO3B+nFadSN0reCfpOxkzUzGJU4kdvUJHpu1NZw7GUd3PsQfY6ZpvdsriTbGRGVwsIc2tFsG7o7BHpgAZcg2OPGk525uEkWFvsAt+blbGNVrEl2pauybJFASbaaL8FZS4RRHGpyHaMlXL5eALYVzdqdK7aG09unJOQDud80m9BcBzmFoEFGsgAWSBiTQs1X9NN/SC+ukZV2OdJahiloF+WiT3MR7UAOa0qnhj20skkczPJtnZ0VomCu0UmPnwyhuDj99Ptr/6rPNtJVmgHqlGUYFgCxzU8UcSKFcm78jSw05JHV631UNWacPAJ/iMUm4U4EFlUZDIIWMjqvN2qqfAHFA83pLueqNj2k0z/h2gyGLANkxBL2jEAgg2DfNab7DYRNGHMuSh6sIwuvSLAdh7yXontN1wfebZ9MO6MKw4k5YRiRbCssPrHkLweLGRN3fHJ0O+TiK/N1YF5vxWxKgqrKaaTnziK7QBVg3fnjR3SN8Wj9SzmTjS2EFHuQgKeDHjYBPzACrJFzb4J2W0hD7vbszmJmOEsgJdcbQKZAuRJ9uONdSfBKTuDt849qSEApi6MpcyMQ1mmyAsHjEfpp6VUjRk07fAjWOFAuSMQRiWsFWXJCuSNQADSsxa+Bfmq0z6K6lZY5EU2E/GxXIMFMjkgg+a9MccYgcedLd506dGo16eMiqO0jtYQIWNUmagNdcWASC2m3UumJHtTLHTeiuGamRVLg3eD2ZKNuWBtjzQA0sU+Cs3GsZHvwt1YOJBJK1wenSuxA4SOQ815BKobHmMn3J0l631R0SMNIw3A255BZ6xaR3a8QMHCgZGuCboA6D2MsX4PcI1jnWR3JUjEUkUbOxBWMBODYs2fc6L6z0KVix4CCFRnlG2WaIHk/8A5CAhYfdv66z4onyyq7naGS4lQBpvT5DCyy2oUm/Jri+fb31AkjplEtPk/hCwINefHsLF8Hz9tWmHaFuobSJz6bTGRo1QFXjj9OULYPK2ic/cEe2g22rKQ6PEyhmZh5dI8QaFLQLWzMTbfKCOdIos21CjZdPUZSq3KNZWqxAkeiT+a8bGPi+dHRbVGWMqXJl8L8pXH8M5kfdCPHkH66j6RvjHCzo8YWRochJ8+JYOVC0aQmyTx+hvTPf9WikneTcOkMjoCgZ6C2BVUBlS+3Fk6bamgJ1yJtz0VQ+WLBak5BDHJVJAoXQ+Uk14NDm6StgxBCYHFQ1tkPUru4Hy2bNNzyPGnu3M00jpEnrDkMQoZSCMvJ4YnzV2a8EaGUyRMXl283IKC4S0Q59saxNjmvp+wg8ZRpU+CpQ9SIla3IX2H3J+/ihr0Dp8oGwkidFZpSjBjIRQA4BFUTTH3I7h9NVH/wBoktykZB9/UcH9KP8A1026rIR3t2UVFA5DiiTZN3QBrxwBrTkuYiJMhfYytkyJGyJ5F2QKFCuP/PbXWy2HU5wz7fZsY8iAQkZFjg0ZBZH6Ei7970J0lX9WUqWIe6LEg0fHvxxr2D4f6nHBtoo1kelUfQ19R41ya+u9FWo2V0nK/a6NQQBRSih9tc73demmdFgGXKvIUkKW/wB28j9gda6XI/op6wqXEZ1RGQ8kH6e/jRLNftr1rPF7mWNRk91+5Fft/wDupEgvzoiPaj2s/wDD9tKFIWbsuXjTEtHKWSQgWEtGZSa/KcSv6sv1002HRvTRVzJCqFFkk0BQsnm69yb0SNuv0Gku628pn3aAyAPt0eJsSYwxLK6eMbOK8E8Bj4uyC8YqsnUfQD6LWfxfUjLMPMgidVV7AAzaJQW482PAFWKRo0jaQmlUFjwfAFnirJr2A1WJN8Y22UskqLhC38SGfHj0siQnuSyXj7BSR41V+ufHDPI0sJlSCTbKzWFrFlHgWGDh3C2GI5aufCnVGLYy+Netod2kaXxE6A5j0z6iKUYAeTmyfMPC2OL0n+DviFFkWJw0pzPqYl1yxvFaJCZAgAZEGkJu24T9Xm9ZtqfT9IvtWQAsFcTJlHFkZAClMqFSWr2Hitbn6NI8O5waNDDIHY5sZCuHpSsGUlsFZSW8iyTdVal6pUGbrrrb2KYsoilR45qYFhUivEqKx/IAUJJyBZbx5ICHedRkWZg7ktjeQILepTFOCKK5gMaAsi7vnUhT0jMzELUDiP1Q47ezFY6Fepmh+QkVldUdddZRo5FvuCfNkSRLEFr1fxK8hfHHlqsFSRT3WuBk0o/Mzbz1HIwjtlVc1VWR1LteAAr8MuxITg8VZ1YOn/EboSVeRSpCo4BNxmTJqWrdQ1D/AHQKpq1UJdw4zU4liM3BQePw3plbsKqysQKK8tiFB5Z9PkJDSPkWwc3HRN4t6eZemkfIljbse7trwC8BXuwWDrPSz/Hum22ob1GJZ1rLFir5AepWGZyPtf01L8L/AA+snqmWRgYPRzCkBs8EtjSmzbNyTZKkke+q6vW5YgQrGP0oiqqDUoDDJFIFAMvoqSVskHg2ObbD1fdepP8Aw6tNCLLUCxkIABKNd3jkL92APubMavIs/asB3XtjAJlhykWX0gy4oXdTK6xZX8qq2A8/Q+5APkvU5n9QKiyFVN0DTWhAJy57sqN+3HA516b8X9PlZ4p1FsFGaLVn0Czx2GUH5mDFfluMc3zqqfF3w9LuI7hVXG3GUvdyWkPzKoNdqim4BpAea4MX2FnwmKJeiuV9T8QXC7HvuR2CNK134BKmx54PGhtk3B9RJBkKIWrC2AGGRrI4P5+/sdQs+7iQxpNlEwaMsh/DoqS4tlDBcWJJqq9+Nc9I+JHhVYmClAaBxBZRbMKNiwGkc8/zn24074JxlUrGPTN086MqcHKBVDX6ad5BZ2IpVOCWzWTVEnwbF8N/EkcE0Qdcyh9QyKWpWZBC0oWPiUsGK4jwEFZG9Vb4f6gzMIZZWSIuC6gnE4AlSQBbKDdj73550w6P1l52ZSMUaNsmIY0a7Bjl3U35j8wNHk8o1WSikpYZ7Xvkg3xUeorNt5gOLwMnBMZPIY9oteSOLA0D0zrboJLhDom5SIPTMXZ2HeAOKOZxcCj22RyR5p03dBZ7iZizOxshAnrrI8tCzQDAIC8bCgvuLOitv8Qgu5bAhJ/VUSAAGcJ8pPCRuokrkVYNCxwg+3sy8ybs/wAdCcysSybhGOR5czLuMaAo8Ko8jHE/prnqI28kqQo7VMrSsJCTSxth2gg9xYEUK4LEcAjVTj3AZMXixkO3LmRhciupjODWAz4DgVxcrXRFnmHf97bpQ0W4jkqKgCJAMm9Jq4h7COOB+JRBsHTKnyJtayh3/wCnkG2bayvuWS5JJSVJqMRx/hkUTTiwxyq6Kg+Bq/8ATo4/4YCB8kC9pBLUCMgODY4I4sHnXms3WjJstjCXSJZUHqNlGHMzcucSKHcxoe5YkihqxfC8kxhlWKmhfPBmKmgYkSIqq45IMKIyWyW54Fo6WQ7Wyv8Aw503cPM27khIsSCIvMQ+BXLMee3uKnwafi71Inw4rg1IYpppWjWMsuILLnI6j8i/mx4N+RZ1YW+G551haaOFJAHWQWGRFLGii4m3KKoyJtQ8lHnS3qHRpEG32rwxS7eFo7L2fWW7d3HPNjIgAksa8aW48Io3KTtiLc/BaySkLNDHIqk/w54d8LS1Jk7eFs9oAsDjSjqm1WSWRD8ykdp+pNcMPp4u64OrbL13c7qKPe9Pizji3EpxoKX/AA2jFlmAESg0eLtAa1fJkh3O19aVBXpljwMlxBsBhdEG/BrTtWQPGJNq0FvG4j9PuFOMhgMSavuNg+x4OrB0vf7ncuI19KVQKYOny2Ls0PPvq19K+HpYURpVWRCciMjSZ9xLLib5PLDwNFQ/DEaGOYIcgxPabA5Iv61Q8eNLWDWU5Pg3cAlWRHW/mBpq/Q/8NI5unIGCgkOxVxmeCoAKsB7CqHj7eeNeo9S2ySxyCJ2DtS9rV5IBPJo0CTQ+/vrzv462bOzvH2x2YgxvjABvp4yFUDyV+ulkqyg3YQ3w6VQOSoJFgCgCPY3oKuBbYmjwWA8Ej6/bQnRdg27VL9VSkeC3mvcS1sGUUQt/Kf5vfU8G43aAqXmSiaUJlQ9ucPNckfUnWjHuxWy7xrfvotEGounSRyIrobUj+o+xBFqw9wRY0eq66jzVExFH01J48D9tYkZPgaG6l1yLbNGJQfxA2JAGNgEhTzdsQFAANlgPOg2WhCwnpm4WeMSRsCrfuCPII9iPcaS/FnxG+xlyOPpeiS1qeHshDfgFmsAEc4HXnI61uWimEUvpIkonC5qApkJVKYfmWSMkjJQbJxrgMOufHj7mLcwsuJkYekUCkqpssr3w3KHkEkgiglHSnStOngtE/WP4np0e4OIV45Y5RJ2lpPSeMqAKY5M1nBhwOPrqizdMUtIFiEeGA5kyRVLUTZI9SlQ8fa/5dG9N6IN9t9r6EhCQrHFuVBTlpHhSQhhIXBJjDC1AJFjydKd06ruwuBxIdVBIEhAciNyrAYhuSMi3aSe0aDLQRN6yLDYhI9QzANgDX4kRjay1FrhIvK1s91+ROnTOF3Kq8io0SgyKeQGdXUSW2TENaUvnNya51Pu0YbHb4yBkZ3skxri4YkgizZBfiifJ4B4A/Stm8hkVZACkLOyNGzKcGph6a+eVUlqsWPvrZHwa3ziRIrxB7VHy+ljGQoUHEEAZMSfb1D55Jmh6wyblBgSPrO7KqH0wgQuoPaCCABfmuSSddb/ZlEeLBFKOrj0x/wDWUX1BRkoMAhBFZEp48krpRuSZJJldY7OQU1wiswvPIg4qAAR+UD20Ld2Ua0nBJWpd+KGcMBuOb0w0MilSWVm+VSuWR7+aRgQRfF8HRHSd2rko4haQoo9TJUIPqWxvlWtBeSjgWeRyLFtN/tNntA0SYyTQxsAJlZw8q0rhOUDUoIGJXtFAmxrXWPjliZikZWMxhS2N26uyOoeNWxVlFgMwu1o8nWrIq1JOKTK4+3e3AjIU5r+ICqlkGPyADGigWyD4I8HXEXUkjhkWeCyNr2DAtiGkxtQw7ARl8vA4Nn2Ih2bJJt4payWX/MDLIBFIFoBWUqQFZsiR7P4+YiT7g+pMIZGZs5IhaKHkxYAH1CpByLIbsGgSTXI1UC2y7xdflXa9NRVBEtK2WOLKyFUUkng2yrR5sE1xRqm46cYS6cySyAxkyEMsbqWjdlQjFgzE2GuwSOL0p6VuiYDODNEqPCqkG+/H8QBjygMbDEe4I57dEx/FEczi/VzVTleI7r7iWY8sSf11rafA+np6coyt57X9RH1xGiB26kGOw+Vd5JjVD3Xyhx8H/mdL5OhN6ayIcuxnIPBAUgUP5idWLqO6gaQfhu7VQCyKW4HjEG7r20u6h1BcYgiSQ40y+orU4ZxRBAsVywI84kea0252sA6WlGErkm6xV+V8kuLAtpHJECSKc5RkG/VAIXjHyAbC/XytVemLdAwPe5VaKnBTJnJTMyKIzynbRs/cjyAX0dY0/ElUM0cX8QCpag9s8YYmmoKihV7gTKCb1F0vp4EDZFzKpe4ngLRECPOjIBauwDdysCo/2jqsIbld0c+EGxQrMaLvG0W3iLESIrM8liRaoYIGIWj47vOeuoNs38SYM09ISJeKogWjkKo1ZwNsxqr5Hvrp27XcFHKj1I7YMWelDEooruMpsHlQrEvyTiDqPcbKNymRRoI4EEg4zVmV5FDMnEpLqWsZCl8CzqL9rpleVyMZdxGjHECVg57ZEqFcFDsOSAjdqmyT4JBGdaD2O8YRRembCxZhhEvJ5dlAFFwrOIihIBxY15szb9Qgk3ZfKPCI+XQoZC4K0UN2gVSCCK5UWND9I6QZ0Kx3NI7I0K2vyCXkEo1KQgZitH5iaOlk03gdXQz6ZvWEjMXVUVAqHEFnjlaNsB8wUM4KWWIpwFC0tMPhn4wO23EUcuCxSs4BXhc2Kngex9RmLCq7gQfYC73fGANGkapHSeoHGYtXZ40IZqEkbVz3Z2ee3gT4T3PpujzK7LKBEHW0LNMqMFLMe6OwCGFLbiguR0jTayG0uD29Tf8AYgiufeiD7f359tB9agDRE/mUWv8AtAeP0OlvRPiSKRJDkqrG+J7gQpoHEtVZDIce11qbdbwSA04FqwFYkgkcEWcSb55se2p221HgXbWRbsN3hE0ccaLlkz+QCSS7kAA93k+9k6S/CG+jR5toJA8BkZX/ABgXLnAuFFBsBVcAeTdtZ1ZUgUng0R4Ni7B4PbwOKPtzfA086ZMDwwXP60Lb78Dzqrl7tpNxxaCqBOPfX2JH9wb0snWHblmkZQCPB5ckHkgDmrr7abhDndflofuSf34/bUG92UUwHqKHC8j6j9ua48e9aoiB53u4USb+I2O6RQKMkchJbAfNQbuurq/H1rjSqPqLSQ7aJlWMHcqWOTAvTF2yIII+bz9SPNVq3dS9TcsySQhFmlSONDRkMYKtMxYNS2ikYjwRySTQq3UPh/19zOEIRIbxGTcsfmGd3+554GjJJDcD2FUBZlZ+LBjDHG+OQPJ/XzqbbzKgqpASbORBN0BfcCa4+uqj09WglH8RFGVJ4RlJk+xF8f1P769A2nW45EDKhrx3LRH2o+36caigsrnwbs5NrB6e5xzytcPBUi6P+sCSL9wE+lCyv1CJGRXaNDJeORonEW1Enkgc1rieIBHJOChGJayMRjy3H0HPGvIOtDdTGGCamm9NaEgPcU9R7YjtAeInigzBUu2GWrWQjHdlnpnwj1d2aTbbl19eOR1UWgkZAA3KrwWCspLAKCGHHk6i+Ofh4b7bB4GDSxMyoyEGiWCv491dBx5FEfpR4opW3G1DuwmQKFkIdZGjCEohSvqmHqVmQwJvGw56Z1CeCPqZBeM5LJDI6ktIxObFldflAGLGr/ENHhdLyX2UxV8H9CbdQOE7GBMcgMalSRTK6vVKeczYU2f3g690k7GSNfSrOgpD5CTCu/EilOUl3xWRBFeWew6h/wDMEm1SWCHdgdkbQ90lDuGRaNCS4v3o+xGrf8Z7JDshJPHCDEysBNJcYs4kMa7zR4XmyBoNsssStnnPRJ22zJJIrdkzJIWLUVEazKuApSp4+Y33EixxpR1rrLjf/wARtPSsMPTK92NY2imgrLk5UVVhq8jje9ZhFCaCh1fAIgvjH1Bxxw6VweKAF0dQwSAieSO2WMxu4NgW6uj1VEKSQf8Ac5JuzXSklLLF1I2rRZf/AH9DMjmXaNK6jwcSqSc0SxFiiL8A8aQbbbGOgsoWV4+1ispkkWYiPFirCjZ8gHnKzxRabtpd105ZmjJxxUSKVdTjaySvGyAqw9Pgo3/2fbVegQYP6gyURlaq6YKQOQT3gOwUnhCycEeNPzd/ahk49o15yG9Mkl3249MLk5QKcvTUIEVwfPlu5TyC5IaiPIY/D00kdpJ2w7gyRzJKwC3iaYsB2kspQPXcGA5oaS7TeTYtEQY45Emb0+LsrmXf8xNIFDMPrQBGmMe2PpxMxyDZDLtyzZ3aig5x7gB+w540q1OllK7waEY60+m3WLRv4hatwY4wewCNFjjcsqwMwVASC1jIAvVMReXnQTThMY42uNlaYhAAkcmDSAhSuXEUSNiWpiL50b0/qypT2qtKcBI4yIAIckH5s8VoEc2eOaGgmWVxB6MiqXTEqeIwYyUNccqAxYkmwD9uZrU6mao6NX0/Rltu+CXpPWZpAWUGhIGEhZiVkxVFHqVR5NhOOGa7A0d02MSTxxjsjENn8qo07j12Wl+XE2Aa+QAeToKXaEqVVZvSaRmmLtGLKA2+EfFE8fmHA96Ot7Do77gSCeT0pVaKJlkZKlICVbGQPl4PGVVQ9gHOd+CTYbgAwhS3pybhm+aQ20bB4xjHLiHRQBnQ+axeJpluOrvvPTjhUeskoRHdIhA4ckAP+Fziii+R70DYGlGxiYNGHchY2ZfwzgSHvLvC/Me6uD4486m2O0yaSOGMlwySxrZ4UBLYUQGYAtQN3R+oBXcrBXYN33Xpdn1Hcpt5FitlNRpG6onzCiynBAW8AAgVxwNJOt9Xn3UUrbm5ZY8ULYItXkS+IUE0FGNVxISfbVp2QU7ZZJXXlHd+xBJ+EBEM2r5RjZ9yQBdAgon2iTAO1hxMY5Fyq4wFkaiF7QxLCyGINe1AM5WwUksgvUemyRbYxtzLKNrDTkKY8F9Vh/LiAIxZJqybHI0rXdusKGGNkANsA34bkRC3NENZBLWKxyI1aN1vEidJYzGDA00wEsh4Mjmo0BFMDQJ9z9rJMXoXDHuJAAWdSFE/nJbUhEy7ivBDRilAFAAHRWpSrkZaSk8OgNyPXphLTkYshfwGQBqFgByvcaJBfkDxqTZNkc41xKRusORRYS4CsxK13O6S9vPdlyQAaI3WzcyMqp6iSqfUIIWJm9SSaNcwSA1xs5rzQXjUXUFhl2+3jhiWP1WlEchY5mSywJJAbFnYIvH1JHA0n0Gkq5AN7B+AoTFTIkSMfUpywzUtwQMTfOYPBADDnTCXdbhDEBGyXAYoVW8ikg9QOsii7dVL2eFsk1ydQdX63EHbJpFxUIuC42uJBTFlFgNZz8kSt9gOoIWO0k3FlfxlXbvkFQ2zK7EHiNAPF0MjQ8UTVIXdk3t+oBIWamUtt0Xljkxp4jNyCoLFyo59ru+NCSy5Sxicfw4lQJKQrHONVC5FeGQAooryLJsg8u5tiU2areZdIzEqD55ecXZwcmGZL+StmgdLv8UkdJ4z2MZIliydmQuJD6jmRgclGPuaA4o+SYuOb5DJSxXBGxdFn9aRwkR9IxjFsmyDRgUbZVWJO4qvIIu7Gpd/t44IY5Wj9SOTxIAo57rXAtlxg1miPvzrhoPUaQr5WLl4kEls5CAoQQzW5JL1kC58itQy9HMbQwg+pkiyO8RMhHBYKAEtfF1RJsXYFaCnQHDwBbXfpGcpVyUk0F80eQPmHjgWPOnXwt8RGLfJOqtguRCP9CMCPqCVLc88/bQP+FiRWlET4RyBBWbFLBP3YgUASf5hyNDDaqsyotBucqa8SF4BvwwyYEexBGi2qErsfTfS+px7mJZYmtT+4Pup+hGtwbZyX9QKcnJqie0cKLNflHivJOvAOm7t0fFZCtWD3NjbDHKgw5A5B/1R9NWzp3V23G7jdJHwSWFMbfxHgGsH5rALE1zzpHKuxuna5PTetQRLE0rop9FCUscKcaFfT2Gqr/hDxbGN82QumbkBSyO/cO1gQVNhGxrwD9dC9Z6285lh9LON5UW4wWkQEnJHA5BwFiv5T9Rdln6ltZUKt6qjxRTcJ54o9oNf20yyJOLhhlO3W68pKoDWCGUDG65u2Wr48H3++tRb7dRdqKuPse7kfXtPP66F+INzHFKsSMZUdQFc9pX7MaAJHjI/8tKTunHasppePav6GjY0lO6oB62rfcD299Vv4w6RCu3l3IVRJFHkhZmC5qxZBQ5ouxFDzlXvqly/EsW96Z6M83pbiJ0aJ/z5R9wZO4U2Ni7FEjVm+GviGDf7dtqWlDlCozI9RggAZ1mW1fyPPdyby86q1QsY9ysdQ6usmyj3DyF5nkaKY3RijUhqUoiubV14BJqV696sfxHvS/Snkf09wTGhT+HZlYIzYCUA3mVZgcSKJBBPnVN658NS7OHbKMXfbOZixjYM4Vg2fki1sRkeWAjv5BpEerzxqgil5x4jXFs3ZgPS9JfJBkN3fdmfmAGlLUmsYCtruXh2wdTLFJHuWbMoCpBUFWxdLEhMagNdc0QfOt734rn3SIHkeQlmjVOxh+IAotQoDseApNVya50u2CMVnjd7jaONnf1e0MrkgOWZQ95UQtmyAKJNcSdQIjk8oQzeVAUOSoBx8tIoGRZicS9+eW3yH4yND1hfTjSRRGVUoFAdmWaR5iWsyHO1KFgSaZiKXSnZloVnjdqXCwCynmw5agTZxSiRda52chZHU9tIG8HJgXTEkgc4kLRAF2ODqCWMRt+I62B8rEEsbalJDWoIC9x/n+lnW5wZvaO9vstxtw7ruhijBVgWSRlZ5EyCYJxkAWYkCrQ8g6wo7ONuu1EjHcSn1ZAyI8zWKrOqqqtsr8UTRAbpJ9XEhvQLkhowzAxqrFscmGQal5L2tHxfMkm43MqxL6zn1y0qxBSB6iWbDUAFGPzZEjEE8c6eDi1kzUrwPdj8HbhZA8sbYwIy9jI2ScoLUG/lJY/ZEAo+COpbRBIMExjIYYh8TCgkYWqlgRK5VlBsUFckkXpDD8V70EbV3c5Ni0ciq11+VieWQ+9tiQbNjQe4Mn4biIDGNV8XgFpmHaAaxYWPNNR50jafH5K1tfKb+RPLB686TFmb8UOAFohVVZJZZFWwi8pZVgRZON8Drd74Q+lFgWEEryAKoJSK8vJskG7YeL4J41NN0aXaSiJzHOkzgFQfxWQnGN8Caj7gD818LdUNCpHgscqxZwh5jlRyCjyshUWB4IDL7L48aFrsIrvOL8h2x2KSQTMv4ipKFU5CsVKyKqu1sGtnFsoVru78a2W5SKYhkctRkjGZUhzTQoyk2QlkEAg8tZPFD7Hp7vFxGkULqGEhoqzB2Z29RawVIlZcG8ZDwXGoOp7ZiJWZRapHJzioxkJKlRnTiqrHPx71esZulQVudqZNqkyEByzh1BW7XHtrhsx3GqquebLMJC8iGMo2MhXgliCB5yBAsEEMOL8gjRGz6o0W1FMGzlXI/KeY42rEMMyptcyGPBqhrIJ5hdyRoCWbmQfhRqSGYBbLp2hQTzkKI5s7bbyQynf4CY0eaKaSFpMckXvpiCR6khwX5QPUuhfggk+REJZYUijxJdS18HhixHN/7N83/TU3TJsCyZMLtgzks2ZVVLMoouQqmhxybF0LkChWZQrOWbtZO3mw2KyZZOVoeAFNe/nSWUqL7le3cLNI6+mWSwrM+V5oVEndfa2d/fu8V5d9W+ImklhEyMACS6JxiFHZgQvaqgquQ/Knn31Bvowq/hoGFBhGcmc5cBji/P8AtUSfrS0IP49TFSRnInJMGXIUlYkA2UkZ7K/rwKvVFkEXtuh3LupPxaiYYhDBeIwT0mRcUUlR2uSfqMC3NAqthvGbbGF8o2EqqXYglWkdmaw7KYipTJiLsE3Xza1tRMUjY3x7R3m7u/pvkvBaUNFdN5yBJ45yLpon3EvrPUKSepJlIBwQUBAUm3yUIWBPze2lwWW5q0dbgJBuzCIWklkDQ1atfqMBG8Ttfzg1X0f5jfDTqnR3hhhhnLxOEaT08R6eFsSoKg5PkVBp/BXtHDaVLvktZIY48omKxBo48WLSO6B4+RGUJZVYkEkjk1Wo99FLDnBm7kJyULvGWlcR1nXiolAb3oAVp6TJNtS7BA6oxDSSiV5YyrTFi+ca5dig1+GSOARiO43yNHdRd/Q3BQZmWnD+mFAZGQlRgSyquYKgHzbEnMDSr+GEMe6UoBI0vpFslXCIx3woLKYwVIPPPbZB8HEesXgeSPawWhxdlJZlxCYkgyFnCgF2NAAWSBjpaVjqToI226RVeVAxm3Kyqn4vfgiovAo1KJQVBagVJ88g66LDMduZAEkLsEcFvliUYJEMTiHBLDv9ifPsH1/p8yiIDamMq0ah2ezkVyUEAlUvhrSxRQGtEbbpMke5l24LkGYHllpiQDZINg5V9Rx+p0G8GwshvQ+jzIZmdWVkkJjGB9OyrKe2OzQlKsKIBw9stcdM7dxLNvIFmMmd+IwJKVlIYkUmClKsnleDzY0u5dtwUujwoOR4I9mNVRo+9EVwfGtP1VzKec1UgICQeSSKx5BvJua8AXqe51wS5yWLbdM20uxsi5ZVOLqlViBHI5KjFQGPCWcsTWV8GfAsmz2m1IaCU7ko8pDRysoUlggEigqiEALkaP1rVe6d0x5dvLEajEKN6ZIyLS5CUluCVBBKkKfN2CfLfY9WWOJF3cjrlC0XYbUGalNohIIA58Gslrw2mTxRXbi+5L8Kdei29fh+u0XqEPGRkECBRmWrEhB3fN49rrXqHw/1htzF6hheKzwH4JFC/PNhuKIFVrwfcbNTPJu0iKwLuDgoZUiaJXkhAjwBYmgbAI+U88jXo/wx8RxQbYgTbg+ngrRywtcRLBMQS2PDHxkWo82dUS7EZ+73Fz6xskkWmiEn6mjV+QfY++vOupdKi9V+2OTuIB9QqQB24kChfF/73nXprspJU/MBZH2Ni/64n9tVXrOy2iy1Lt0LUO4tCMvvTSK3m+SPIOiSR4MFIsqHCigSfIv7gUPBoeRXvWj9t8SttZ1mgxQqGIS+ACAPT7vmDHnj3JPGod9vFlQTGHEs7kCOZFjBUDJjFgWUG7ALi744GlrgSLYP6H/iDXNEfT66PJTc48HoXxP8aQbzp8C8zP6mLZCSL8YAY1TUeGYiy3yi6JB0kbr5VoY3CF9uJQk0ULM0fcFWQ18xuOgQFPPd918kjKtUpR5FkVY7HabRXWOjgO9qUjI2SQaB0qXdvllmbyVkYuMUbIvZJ4u7NHm+a50uClYJd1EzlWCMCUUKSxESswJlJJsUBldMAMWJ8Ea0kKOm2FpiqyWFR2IKuSZXAFtnWI8UAAaAvRjbkOmMsglp7R5GtVC2XkZRbMXNWCCTiSCb1x0d1dhjElorFlAILkuZAkar3M1DAZE/MOKAo8mqgjZbXFHWZvRLYBMyoYD1M1DQ8MgbBBmRiASb7joHdRRRuwKKrOe8yBmCqwHKqnPcCSLo8g8cEHKjs0800fC0DFI3LSp6eTfQjgsw8AuF8eB5ZMpWAVGtpFRqpWSTIZKuOUhUENlfAVQANI0FpMY7uZJPUj24/DZhkjKVhXHErIbjDBiqUQS3nk0L1N1jf7fcPFBstv2Ia/GYgEBLJJLkYFQ1NxzXHjSibbJHeLBgSy5Mvc6+CVyFRoGAa2I7X82DrPiDY/wsyII5FZUOT5G2PNDgUhRGUEDn6862nFRVIE8dwrr25iVI5BGwf8KSVCmA5DRlQW5xKrSsooA+55C3cTKk8aMzosRxZkbvViS0rA15VmK8DkRjXXQukrLuNuMi3Kvl5XGNe5SCMvnVUHtXjWtltLkVcmeR2ckEcGkLEE5d7B1XHjzfngavpTUHdCyTk7C+oSYRZlEdKEaqwbJQbbNCGFHFK98cqGmvTJWi3LelNHHGUkEiRqWWNQiyylchXpEqO6zytV4qmbhmztuPSoU9mypJrkVXFY/oPHh9s2PqBiEaOOJ56j9PhXjzKm/mZTS4t+WPxR52pKLVRVDwbk7ZDt9z6m8R5hn6gNkLw0sgIEjAnvNOG9i1AcHRu9LCKFSyvhGHDkXUbdvgjjlWpRfnkjwBR1JnjaCS3W1YkjFjS/iU0g7GCA+aFr4PFm7LdwyHdOUKQpCWEauTiz5IkIYqcVJIBIq8BYIvUJWGDTdeQKPqZC2yBkZ5FIwjAWV0Xuyq/JF2OQK9zrIpGMdwsjy5qwqKse4Dz6dLbkgWRwb4JIEHSzI0QCqSgaRmvCs/TpgMgb/Dw4otdlRYvR0MLQzOqUU7mB4A5ziT5+00Hb5uOTfm9M8CJJp2FdH6iTvvTkYMxcDPkWWpTdMGHJBWjd1q09X3wVU4BF3Ry+QGkVvm44eyQL48aofQZfU6mjysopnlLeEGAaayAe1Rjdc1QFaum/iLz/iYsywIpYYm2ZmcscRichi3HBux7HXR6fRepJRic+rqrTi2+CHb7yBlknSGEOGjRioWnckl0y9MYlrHnEGuMTwYBJs1cjBQ3qOnpxyqssZFjgqykg0RVE80wHuUnS4sWBQdwAYC6YLVX9QK4+mhZvhbbMb9Ojd8O45+vDedeg/hur5X/fY4f/R0vD/H+zsdB2n8MqlGJeRO5JSQGrEBo/WLIB8tk0KscDkkbJHftMgdO1UJUxAHuyTKMqW7iRWVlvm+o7fDsQVVIYorZhC7Ylv5jRsnk83fJ+uoofheONSA8hDckMVIujz8v3v+n0sFH8O1fC/kePxHSXDZPtemR+hHGZGAdmtW8vJyQGbBfUClTiDXF8EAa5g+H5Iish3jGRZXMZdUOLgqkiP+JbKQQKSvP1JGotp8O4Mv/wAiZwpBxdrU+ODVErQqiaon66edXVZlK2y3K0hKt3d3lDkpBW1Uih7DSP4drJfp/I8fiGk3+r8CSDpmSzhhC80rOLJwj9PnsURsQFsEglhwa4I1INqZduqYhJY3ctiJcZFkUrI5DoMpTi3y3QYmqJ1Ns9jIiLGZRQVvlQYlryDY/lOXJo0fp4qJtruGhNlGdQFU+wClSinFQQoK/Uk39qM36LVX+DKr1ulzvX8E3xLsJWaOWNIpFJje7wLPaqRID5sqI/via5PPLdHlk3SyM5hGLMpAQk0R2rywaw3d54sVzzztJZ1LGSCJyVGJWRkUPVElBwynk+1cfroqVyVSsmtLdCTiHLC+bN0CaNeODdnU36PU/a/4GXrIfuQm2HTrXCSCUD55CA5PzdguzmxHNZcf00Ft9mUBwj3CU7LbxRX3tipNhZKojmyASKJrTv8AiiYijRNyaCmMMoWzxQGPIo/a/tem/wDErOtq+KqjWXullyJVytKVxIGQ9wV96OoPQkrw19UP1VLhoq0U3orGyIjKvm7IfiyzBTyxUXkbr28ak6/Cu9RBA0duEDxrKva1hmKxyOGKLkR7WQfHnQXVYp9ssa+m6SS2zIw5YBn9MWLsnvIBI96sc6nh6pHAU9WF0kx7sVjCk3xTC7NWTfNjyfGoK4rgdMcz9LgjgjSKbBdvI2UcrKpllq8mZW5bEcUTxx4ABWdD3EwA9NnUyTc8qWkjbM0vaxDjFiQeBjfFkaD6tP6qkKjCNznZJwLd3dRNFqUi/PafpovqvWoY+nbX0dsU3CAEv6dRDEY+oFf5ybDWAQG+b7tHPI++uOx6l/6d/Eke6gcgsJRQKyGzgsaohDUAysFL2Pdzq1yS2e0Iw+t+/wBPl18+fCO33Jgk3EcYdlBKRnIiUO/eQoN4Eqcl8NRrkAj2zpe93fpKZYtuXIu45ziQfFBo7HFe5/XTquCMk+fJ4J8MdVj/AIXfwS0C+BiHIJezERV8ghuQTxZPtpeqGONVMbiNcrfHt9RiATmBTfKFq+DxrNZoXkqv02S7a/XDOwAWN1piwAbFlHyc2S1G/IyvXG224JMqGjt2iYljTv5dyrY/MDyDVBTZPFnNZpmHTVqn8wbpcPqTg0UiRnlNUzBF5x7j7CgSxrzZ0yXbxYeunDqLTEItguO9kFYVTIAoJJVjdVres0rYYpIYdWtdvEko9OVoJZIk7SXhljYLeAJSS40emoFW/mGq3toiyukjC1jXDzQSQmRms1iCvbdG/UUe+s1mmqhYtyZNJL62cjSFnLIRyQwsMMAxFhFA5a/GIA1x1Dd+o/agVAvyqpKgjmRgPC2RZxoUAPbWazQCMOk7DJdyWN+qoRfymR2UbmgaNfIL8JRBPtqP4a3cyLM4iWWBBciOFIxelYgHy2K1+g+us1mj3BeLOpdyajaKFfSgObo5IjYq5EbuxI9Ru70qHP4ZBu9DdY3RO4meIs8bKY/UHi2F9zAYk+f1A1rWa1CqVjPrceDJGsoaMsIczF6bmM4jI4t3x9zCiQ3t4OuOudbwdTFDDtWdSjekArhclNlQPwWIquSaJsnWtZovmhmtqtBvSPhn+HA3O5aAxY2AwZ5MziFBVSMTbEFrYDA8XzoXfTn1lMcZWM0I1JByQOyHF3sOeQbPF37DnNZpHyUS9oX8PdPEE0sk6ZhID6i2i8TMgILf5asEZrHjiq8jVgVV9afEswV1TJjy3pxol/Y0OR9b1ms16Xw/+6vueV65/wBJ/Y6La2XPvrNZr6JHgvgxZiDfuPGuktiB9dZrNOkTbJZF54FDWpP7VrNZpuwq5IJJhXg3ruGTgk3X0vz/ANtZrNTZZPPBz65PHv8AU6kgBIJ+n/n76zWa10ZK2cSxZWCSD7MDzWu9i5jcV8osMAeCpFe/F/rrNZoamnHUg1LwGGpLTmtvkB+L9hGIxMMh/lBpInIX5SsbleV8MyeDWV//AGEijptjKkkjySEIGJIid0D84qz3UeYHnn9ONZrNfHyj7j6mGcEG2mkDRy8MIqVQfGIYtiQtZAljdnmzd6fwfGQEhk9H12nVoiJyGxLNXYVALL3UQQLHH31ms0haqWPBY+mx+ohT+GCSze8bCPbsYVuyGQYRY5GrHhio8k9y/DW6kCeru1/DQIgiZsBGvygNGAHAJPcbP18azWam5OOUWj7nTP/Z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5" name="ZoneTexte 4"/>
          <p:cNvSpPr txBox="1"/>
          <p:nvPr/>
        </p:nvSpPr>
        <p:spPr>
          <a:xfrm>
            <a:off x="155575" y="2082635"/>
            <a:ext cx="87496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Any </a:t>
            </a:r>
            <a:r>
              <a:rPr lang="en-US" dirty="0"/>
              <a:t>dead cell with exactly three live </a:t>
            </a:r>
            <a:r>
              <a:rPr lang="en-US" dirty="0" err="1"/>
              <a:t>neighbours</a:t>
            </a:r>
            <a:r>
              <a:rPr lang="en-US" dirty="0"/>
              <a:t> becomes a live cell, as if by </a:t>
            </a:r>
            <a:r>
              <a:rPr lang="en-US" dirty="0" smtClean="0"/>
              <a:t>reproduction</a:t>
            </a:r>
            <a:endParaRPr lang="en-US" dirty="0"/>
          </a:p>
        </p:txBody>
      </p:sp>
      <p:sp>
        <p:nvSpPr>
          <p:cNvPr id="6" name="ZoneTexte 5"/>
          <p:cNvSpPr txBox="1"/>
          <p:nvPr/>
        </p:nvSpPr>
        <p:spPr>
          <a:xfrm>
            <a:off x="1907704" y="5085184"/>
            <a:ext cx="8652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Gen n</a:t>
            </a:r>
          </a:p>
        </p:txBody>
      </p:sp>
      <p:sp>
        <p:nvSpPr>
          <p:cNvPr id="7" name="ZoneTexte 6"/>
          <p:cNvSpPr txBox="1"/>
          <p:nvPr/>
        </p:nvSpPr>
        <p:spPr>
          <a:xfrm>
            <a:off x="6516216" y="5085184"/>
            <a:ext cx="12241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Gen n+1</a:t>
            </a:r>
          </a:p>
        </p:txBody>
      </p:sp>
      <p:pic>
        <p:nvPicPr>
          <p:cNvPr id="2" name="Imag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59294" y="3502503"/>
            <a:ext cx="1362075" cy="1323975"/>
          </a:xfrm>
          <a:prstGeom prst="rect">
            <a:avLst/>
          </a:prstGeom>
        </p:spPr>
      </p:pic>
      <p:pic>
        <p:nvPicPr>
          <p:cNvPr id="3" name="Imag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35427" y="3512349"/>
            <a:ext cx="1304925" cy="1314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8782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wy7RY2hkqnAitLTdRWZ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t9S5QrDskOCExNtu7ivG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6VYGBPUk.O7GLwjf2_g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wy7RY2hkqnAitLTdRWZ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t9S5QrDskOCExNtu7ivG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6VYGBPUk.O7GLwjf2_gg"/>
</p:tagLst>
</file>

<file path=ppt/theme/theme1.xml><?xml version="1.0" encoding="utf-8"?>
<a:theme xmlns:a="http://schemas.openxmlformats.org/drawingml/2006/main" name="Modèle par défaut">
  <a:themeElements>
    <a:clrScheme name="Modèle par défaut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Modèle par défau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Modèle par défau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3175"/>
      </a:spPr>
      <a:bodyPr rtlCol="0" anchor="ctr"/>
      <a:lstStyle>
        <a:defPPr algn="ctr">
          <a:defRPr dirty="0" err="1" smtClean="0"/>
        </a:defPPr>
      </a:lstStyle>
      <a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Conception personnalisé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E626B393C06DC428FD00347AA933125" ma:contentTypeVersion="3" ma:contentTypeDescription="Create a new document." ma:contentTypeScope="" ma:versionID="ddc36a71372b01a9335f976c135253b4">
  <xsd:schema xmlns:xsd="http://www.w3.org/2001/XMLSchema" xmlns:xs="http://www.w3.org/2001/XMLSchema" xmlns:p="http://schemas.microsoft.com/office/2006/metadata/properties" xmlns:ns1="http://schemas.microsoft.com/sharepoint/v3" targetNamespace="http://schemas.microsoft.com/office/2006/metadata/properties" ma:root="true" ma:fieldsID="93efc9269a70eb8c7f7dbbd44c368f15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AverageRating" minOccurs="0"/>
                <xsd:element ref="ns1:RatingCount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AverageRating" ma:index="8" nillable="true" ma:displayName="Rating (0-5)" ma:decimals="2" ma:description="Average value of all the ratings that have been submitted" ma:internalName="AverageRating" ma:readOnly="true">
      <xsd:simpleType>
        <xsd:restriction base="dms:Number"/>
      </xsd:simpleType>
    </xsd:element>
    <xsd:element name="RatingCount" ma:index="9" nillable="true" ma:displayName="Number of Ratings" ma:decimals="0" ma:description="Number of ratings submitted" ma:internalName="RatingCount" ma:readOnly="true">
      <xsd:simpleType>
        <xsd:restriction base="dms:Number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4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verageRating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0895F366-8E23-4BF1-A7B4-7EC481F3EA3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0571E87-5740-4EF1-9D98-E17CEEA35D1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F74B2B0-7D19-45A4-83FE-E016FDC5AE00}">
  <ds:schemaRefs>
    <ds:schemaRef ds:uri="http://purl.org/dc/terms/"/>
    <ds:schemaRef ds:uri="http://schemas.microsoft.com/office/2006/metadata/properties"/>
    <ds:schemaRef ds:uri="http://purl.org/dc/elements/1.1/"/>
    <ds:schemaRef ds:uri="http://purl.org/dc/dcmitype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schemas.microsoft.com/sharepoint/v3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890</TotalTime>
  <Words>386</Words>
  <Application>Microsoft Office PowerPoint</Application>
  <PresentationFormat>Affichage à l'écran (4:3)</PresentationFormat>
  <Paragraphs>122</Paragraphs>
  <Slides>17</Slides>
  <Notes>1</Notes>
  <HiddenSlides>0</HiddenSlides>
  <MMClips>0</MMClips>
  <ScaleCrop>false</ScaleCrop>
  <HeadingPairs>
    <vt:vector size="8" baseType="variant">
      <vt:variant>
        <vt:lpstr>Polices utilisées</vt:lpstr>
      </vt:variant>
      <vt:variant>
        <vt:i4>4</vt:i4>
      </vt:variant>
      <vt:variant>
        <vt:lpstr>Thème</vt:lpstr>
      </vt:variant>
      <vt:variant>
        <vt:i4>3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7</vt:i4>
      </vt:variant>
    </vt:vector>
  </HeadingPairs>
  <TitlesOfParts>
    <vt:vector size="25" baseType="lpstr">
      <vt:lpstr>ＭＳ Ｐゴシック</vt:lpstr>
      <vt:lpstr>Arial</vt:lpstr>
      <vt:lpstr>Calibri</vt:lpstr>
      <vt:lpstr>Wingdings</vt:lpstr>
      <vt:lpstr>Modèle par défaut</vt:lpstr>
      <vt:lpstr>1_Office Theme</vt:lpstr>
      <vt:lpstr>Conception personnalisée</vt:lpstr>
      <vt:lpstr>think-cell Slide</vt:lpstr>
      <vt:lpstr>Code Dojo – Game of life</vt:lpstr>
      <vt:lpstr>Code Dojo Some Principles</vt:lpstr>
      <vt:lpstr>Some tools (optionals) </vt:lpstr>
      <vt:lpstr>Some tips  </vt:lpstr>
      <vt:lpstr>Conway’s Game Of Life!</vt:lpstr>
      <vt:lpstr>The Problem</vt:lpstr>
      <vt:lpstr>The Problem</vt:lpstr>
      <vt:lpstr>The Problem</vt:lpstr>
      <vt:lpstr>The Problem</vt:lpstr>
      <vt:lpstr>Summary</vt:lpstr>
      <vt:lpstr>Session </vt:lpstr>
      <vt:lpstr>Notes</vt:lpstr>
      <vt:lpstr>Iteration 1</vt:lpstr>
      <vt:lpstr>Iteration 2</vt:lpstr>
      <vt:lpstr>Iteration N</vt:lpstr>
      <vt:lpstr>Final Iteration</vt:lpstr>
      <vt:lpstr>Retrospect </vt:lpstr>
    </vt:vector>
  </TitlesOfParts>
  <Company>betclic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air Programming</dc:title>
  <dc:creator>Sylvain Thiebaut</dc:creator>
  <cp:lastModifiedBy>Mickael Metesreau</cp:lastModifiedBy>
  <cp:revision>151</cp:revision>
  <dcterms:created xsi:type="dcterms:W3CDTF">2012-11-21T13:06:02Z</dcterms:created>
  <dcterms:modified xsi:type="dcterms:W3CDTF">2015-06-02T12:11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E626B393C06DC428FD00347AA933125</vt:lpwstr>
  </property>
</Properties>
</file>